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sldIdLst>
    <p:sldId id="268" r:id="rId5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784B209-828E-43FA-9A8C-0C1AF493E44A}" v="1" dt="2026-02-11T14:49:23.9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27"/>
  </p:normalViewPr>
  <p:slideViewPr>
    <p:cSldViewPr snapToGrid="0" snapToObjects="1">
      <p:cViewPr varScale="1">
        <p:scale>
          <a:sx n="104" d="100"/>
          <a:sy n="104" d="100"/>
        </p:scale>
        <p:origin x="870" y="31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7" d="100"/>
        <a:sy n="107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vein Bjarne Sommernes" userId="9864627e-b021-4734-95ab-38f4dc620a5c" providerId="ADAL" clId="{D9D48BEA-229D-4800-9966-839555C8EC1A}"/>
    <pc:docChg chg="modSld">
      <pc:chgData name="Svein Bjarne Sommernes" userId="9864627e-b021-4734-95ab-38f4dc620a5c" providerId="ADAL" clId="{D9D48BEA-229D-4800-9966-839555C8EC1A}" dt="2026-02-11T14:49:57.785" v="5" actId="20577"/>
      <pc:docMkLst>
        <pc:docMk/>
      </pc:docMkLst>
      <pc:sldChg chg="modSp mod">
        <pc:chgData name="Svein Bjarne Sommernes" userId="9864627e-b021-4734-95ab-38f4dc620a5c" providerId="ADAL" clId="{D9D48BEA-229D-4800-9966-839555C8EC1A}" dt="2026-02-11T14:49:57.785" v="5" actId="20577"/>
        <pc:sldMkLst>
          <pc:docMk/>
          <pc:sldMk cId="3829396162" sldId="268"/>
        </pc:sldMkLst>
        <pc:spChg chg="mod">
          <ac:chgData name="Svein Bjarne Sommernes" userId="9864627e-b021-4734-95ab-38f4dc620a5c" providerId="ADAL" clId="{D9D48BEA-229D-4800-9966-839555C8EC1A}" dt="2026-02-11T14:49:57.785" v="5" actId="20577"/>
          <ac:spMkLst>
            <pc:docMk/>
            <pc:sldMk cId="3829396162" sldId="268"/>
            <ac:spMk id="4" creationId="{B9ECC81E-AD20-8F14-CCF9-BB8A4FD5801C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964317-E864-9B41-8F18-56E3D4A8771F}" type="datetimeFigureOut">
              <a:rPr lang="nb-NO" smtClean="0"/>
              <a:t>11.02.2026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8BCD7B-EEED-E84F-80FA-3E4A5E0BDDB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5446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3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Title + image placeholde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iform 24">
            <a:extLst>
              <a:ext uri="{FF2B5EF4-FFF2-40B4-BE49-F238E27FC236}">
                <a16:creationId xmlns:a16="http://schemas.microsoft.com/office/drawing/2014/main" id="{6DCE8D21-7836-5C46-B214-946D2984D481}"/>
              </a:ext>
            </a:extLst>
          </p:cNvPr>
          <p:cNvSpPr/>
          <p:nvPr userDrawn="1"/>
        </p:nvSpPr>
        <p:spPr>
          <a:xfrm>
            <a:off x="0" y="0"/>
            <a:ext cx="7355454" cy="6858000"/>
          </a:xfrm>
          <a:custGeom>
            <a:avLst/>
            <a:gdLst>
              <a:gd name="connsiteX0" fmla="*/ 0 w 7355454"/>
              <a:gd name="connsiteY0" fmla="*/ 0 h 6858000"/>
              <a:gd name="connsiteX1" fmla="*/ 582697 w 7355454"/>
              <a:gd name="connsiteY1" fmla="*/ 0 h 6858000"/>
              <a:gd name="connsiteX2" fmla="*/ 3937000 w 7355454"/>
              <a:gd name="connsiteY2" fmla="*/ 0 h 6858000"/>
              <a:gd name="connsiteX3" fmla="*/ 4222761 w 7355454"/>
              <a:gd name="connsiteY3" fmla="*/ 0 h 6858000"/>
              <a:gd name="connsiteX4" fmla="*/ 4223130 w 7355454"/>
              <a:gd name="connsiteY4" fmla="*/ 132 h 6858000"/>
              <a:gd name="connsiteX5" fmla="*/ 6537868 w 7355454"/>
              <a:gd name="connsiteY5" fmla="*/ 1407238 h 6858000"/>
              <a:gd name="connsiteX6" fmla="*/ 5426710 w 7355454"/>
              <a:gd name="connsiteY6" fmla="*/ 6752092 h 6858000"/>
              <a:gd name="connsiteX7" fmla="*/ 5287384 w 7355454"/>
              <a:gd name="connsiteY7" fmla="*/ 6858000 h 6858000"/>
              <a:gd name="connsiteX8" fmla="*/ 3937000 w 7355454"/>
              <a:gd name="connsiteY8" fmla="*/ 6858000 h 6858000"/>
              <a:gd name="connsiteX9" fmla="*/ 1375246 w 7355454"/>
              <a:gd name="connsiteY9" fmla="*/ 6858000 h 6858000"/>
              <a:gd name="connsiteX10" fmla="*/ 0 w 7355454"/>
              <a:gd name="connsiteY10" fmla="*/ 6858000 h 6858000"/>
              <a:gd name="connsiteX11" fmla="*/ 0 w 7355454"/>
              <a:gd name="connsiteY11" fmla="*/ 5682147 h 6858000"/>
              <a:gd name="connsiteX12" fmla="*/ 0 w 7355454"/>
              <a:gd name="connsiteY12" fmla="*/ 39689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55454" h="6858000">
                <a:moveTo>
                  <a:pt x="0" y="0"/>
                </a:moveTo>
                <a:lnTo>
                  <a:pt x="582697" y="0"/>
                </a:lnTo>
                <a:lnTo>
                  <a:pt x="3937000" y="0"/>
                </a:lnTo>
                <a:lnTo>
                  <a:pt x="4222761" y="0"/>
                </a:lnTo>
                <a:lnTo>
                  <a:pt x="4223130" y="132"/>
                </a:lnTo>
                <a:cubicBezTo>
                  <a:pt x="5061619" y="319613"/>
                  <a:pt x="5866751" y="814415"/>
                  <a:pt x="6537868" y="1407238"/>
                </a:cubicBezTo>
                <a:cubicBezTo>
                  <a:pt x="8258287" y="2928061"/>
                  <a:pt x="6960863" y="5530056"/>
                  <a:pt x="5426710" y="6752092"/>
                </a:cubicBezTo>
                <a:lnTo>
                  <a:pt x="5287384" y="6858000"/>
                </a:lnTo>
                <a:lnTo>
                  <a:pt x="3937000" y="6858000"/>
                </a:lnTo>
                <a:lnTo>
                  <a:pt x="1375246" y="6858000"/>
                </a:lnTo>
                <a:lnTo>
                  <a:pt x="0" y="6858000"/>
                </a:lnTo>
                <a:lnTo>
                  <a:pt x="0" y="5682147"/>
                </a:lnTo>
                <a:lnTo>
                  <a:pt x="0" y="39689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DF458647-A060-3B40-B5CD-A25D18B290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3300" y="1312863"/>
            <a:ext cx="5092700" cy="2387600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1" name="Undertittel 2">
            <a:extLst>
              <a:ext uri="{FF2B5EF4-FFF2-40B4-BE49-F238E27FC236}">
                <a16:creationId xmlns:a16="http://schemas.microsoft.com/office/drawing/2014/main" id="{EADC2EB6-4530-6D4F-A95B-6E6CBBAD22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3300" y="3760788"/>
            <a:ext cx="5092700" cy="874712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4" name="Grafikk 13">
            <a:extLst>
              <a:ext uri="{FF2B5EF4-FFF2-40B4-BE49-F238E27FC236}">
                <a16:creationId xmlns:a16="http://schemas.microsoft.com/office/drawing/2014/main" id="{3B40E345-E67D-7A4F-94E5-CA34B98614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8097" b="37766"/>
          <a:stretch/>
        </p:blipFill>
        <p:spPr>
          <a:xfrm>
            <a:off x="276607" y="5448299"/>
            <a:ext cx="2745993" cy="622301"/>
          </a:xfrm>
          <a:prstGeom prst="rect">
            <a:avLst/>
          </a:prstGeom>
        </p:spPr>
      </p:pic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0E27BF3-F372-2F48-ABAF-F68E526707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03300" y="4699000"/>
            <a:ext cx="4254500" cy="26352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b-NO" dirty="0"/>
              <a:t>Sikkerhetsmarkering</a:t>
            </a:r>
          </a:p>
        </p:txBody>
      </p:sp>
      <p:sp>
        <p:nvSpPr>
          <p:cNvPr id="24" name="Plassholder for bilde 23">
            <a:extLst>
              <a:ext uri="{FF2B5EF4-FFF2-40B4-BE49-F238E27FC236}">
                <a16:creationId xmlns:a16="http://schemas.microsoft.com/office/drawing/2014/main" id="{C08CB31E-A7AB-9C42-9EA9-6E32CE4DFA0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222761" y="0"/>
            <a:ext cx="7969239" cy="6858000"/>
          </a:xfrm>
          <a:custGeom>
            <a:avLst/>
            <a:gdLst>
              <a:gd name="connsiteX0" fmla="*/ 0 w 7969239"/>
              <a:gd name="connsiteY0" fmla="*/ 0 h 6858000"/>
              <a:gd name="connsiteX1" fmla="*/ 7969239 w 7969239"/>
              <a:gd name="connsiteY1" fmla="*/ 0 h 6858000"/>
              <a:gd name="connsiteX2" fmla="*/ 7969239 w 7969239"/>
              <a:gd name="connsiteY2" fmla="*/ 6858000 h 6858000"/>
              <a:gd name="connsiteX3" fmla="*/ 1064623 w 7969239"/>
              <a:gd name="connsiteY3" fmla="*/ 6858000 h 6858000"/>
              <a:gd name="connsiteX4" fmla="*/ 1203949 w 7969239"/>
              <a:gd name="connsiteY4" fmla="*/ 6752092 h 6858000"/>
              <a:gd name="connsiteX5" fmla="*/ 2315107 w 7969239"/>
              <a:gd name="connsiteY5" fmla="*/ 1407238 h 6858000"/>
              <a:gd name="connsiteX6" fmla="*/ 369 w 7969239"/>
              <a:gd name="connsiteY6" fmla="*/ 13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969239" h="6858000">
                <a:moveTo>
                  <a:pt x="0" y="0"/>
                </a:moveTo>
                <a:lnTo>
                  <a:pt x="7969239" y="0"/>
                </a:lnTo>
                <a:lnTo>
                  <a:pt x="7969239" y="6858000"/>
                </a:lnTo>
                <a:lnTo>
                  <a:pt x="1064623" y="6858000"/>
                </a:lnTo>
                <a:lnTo>
                  <a:pt x="1203949" y="6752092"/>
                </a:lnTo>
                <a:cubicBezTo>
                  <a:pt x="2738102" y="5530056"/>
                  <a:pt x="4035526" y="2928061"/>
                  <a:pt x="2315107" y="1407238"/>
                </a:cubicBezTo>
                <a:cubicBezTo>
                  <a:pt x="1643990" y="814415"/>
                  <a:pt x="838858" y="319613"/>
                  <a:pt x="369" y="132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r">
              <a:buNone/>
              <a:defRPr>
                <a:solidFill>
                  <a:schemeClr val="tx2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nb-NO" dirty="0"/>
              <a:t>Klikk her for å legge inn et bilde</a:t>
            </a:r>
            <a:br>
              <a:rPr lang="nb-NO" dirty="0"/>
            </a:b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02609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tekst 14">
            <a:extLst>
              <a:ext uri="{FF2B5EF4-FFF2-40B4-BE49-F238E27FC236}">
                <a16:creationId xmlns:a16="http://schemas.microsoft.com/office/drawing/2014/main" id="{D58CF431-E2D1-E542-8BE8-2F6AC94EA1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3032744"/>
            <a:ext cx="3429388" cy="3179262"/>
          </a:xfrm>
          <a:custGeom>
            <a:avLst/>
            <a:gdLst>
              <a:gd name="connsiteX0" fmla="*/ 1171481 w 2951028"/>
              <a:gd name="connsiteY0" fmla="*/ 0 h 2735791"/>
              <a:gd name="connsiteX1" fmla="*/ 2665858 w 2951028"/>
              <a:gd name="connsiteY1" fmla="*/ 624554 h 2735791"/>
              <a:gd name="connsiteX2" fmla="*/ 2046733 w 2951028"/>
              <a:gd name="connsiteY2" fmla="*/ 2631204 h 2735791"/>
              <a:gd name="connsiteX3" fmla="*/ 1593248 w 2951028"/>
              <a:gd name="connsiteY3" fmla="*/ 2735772 h 2735791"/>
              <a:gd name="connsiteX4" fmla="*/ 212980 w 2951028"/>
              <a:gd name="connsiteY4" fmla="*/ 1871284 h 2735791"/>
              <a:gd name="connsiteX5" fmla="*/ 608934 w 2951028"/>
              <a:gd name="connsiteY5" fmla="*/ 124911 h 2735791"/>
              <a:gd name="connsiteX6" fmla="*/ 1171481 w 2951028"/>
              <a:gd name="connsiteY6" fmla="*/ 0 h 273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1028" h="2735791">
                <a:moveTo>
                  <a:pt x="1171481" y="0"/>
                </a:moveTo>
                <a:cubicBezTo>
                  <a:pt x="1685831" y="0"/>
                  <a:pt x="2249711" y="258472"/>
                  <a:pt x="2665858" y="624554"/>
                </a:cubicBezTo>
                <a:cubicBezTo>
                  <a:pt x="3351658" y="1228289"/>
                  <a:pt x="2662620" y="2322540"/>
                  <a:pt x="2046733" y="2631204"/>
                </a:cubicBezTo>
                <a:cubicBezTo>
                  <a:pt x="1905833" y="2700942"/>
                  <a:pt x="1750519" y="2736755"/>
                  <a:pt x="1593248" y="2735772"/>
                </a:cubicBezTo>
                <a:cubicBezTo>
                  <a:pt x="1072707" y="2735772"/>
                  <a:pt x="518637" y="2375109"/>
                  <a:pt x="212980" y="1871284"/>
                </a:cubicBezTo>
                <a:cubicBezTo>
                  <a:pt x="-185927" y="1214410"/>
                  <a:pt x="-8000" y="433480"/>
                  <a:pt x="608934" y="124911"/>
                </a:cubicBezTo>
                <a:cubicBezTo>
                  <a:pt x="780956" y="38690"/>
                  <a:pt x="972885" y="0"/>
                  <a:pt x="117148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72000" rIns="72000" anchor="ctr">
            <a:normAutofit/>
          </a:bodyPr>
          <a:lstStyle>
            <a:lvl1pPr marL="19050" indent="-19050" algn="ctr">
              <a:buNone/>
              <a:tabLst/>
              <a:defRPr sz="3200" b="1">
                <a:solidFill>
                  <a:schemeClr val="bg1"/>
                </a:solidFill>
              </a:defRPr>
            </a:lvl1pPr>
            <a:lvl2pPr algn="ctr">
              <a:buNone/>
              <a:defRPr>
                <a:solidFill>
                  <a:schemeClr val="bg1"/>
                </a:solidFill>
              </a:defRPr>
            </a:lvl2pPr>
            <a:lvl3pPr algn="ctr">
              <a:buNone/>
              <a:defRPr>
                <a:solidFill>
                  <a:schemeClr val="bg1"/>
                </a:solidFill>
              </a:defRPr>
            </a:lvl3pPr>
            <a:lvl4pPr algn="ctr">
              <a:buNone/>
              <a:defRPr>
                <a:solidFill>
                  <a:schemeClr val="bg1"/>
                </a:solidFill>
              </a:defRPr>
            </a:lvl4pPr>
            <a:lvl5pPr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F3DCBC2C-E089-4447-9134-AE1FFFD241A9}"/>
              </a:ext>
            </a:extLst>
          </p:cNvPr>
          <p:cNvSpPr txBox="1"/>
          <p:nvPr userDrawn="1"/>
        </p:nvSpPr>
        <p:spPr>
          <a:xfrm>
            <a:off x="4886793" y="-1477328"/>
            <a:ext cx="730520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dirty="0">
                <a:solidFill>
                  <a:schemeClr val="bg1">
                    <a:lumMod val="50000"/>
                  </a:schemeClr>
                </a:solidFill>
              </a:rPr>
              <a:t>Kapittelskille v.01 for korte overskrifter.</a:t>
            </a:r>
            <a:br>
              <a:rPr lang="nb-NO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nb-NO" dirty="0">
                <a:solidFill>
                  <a:schemeClr val="bg1">
                    <a:lumMod val="50000"/>
                  </a:schemeClr>
                </a:solidFill>
              </a:rPr>
              <a:t>Bruk kun én versjon av kapittelskille i presentasjonen</a:t>
            </a:r>
            <a:br>
              <a:rPr lang="nb-NO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nb-NO" dirty="0">
                <a:solidFill>
                  <a:schemeClr val="bg1">
                    <a:lumMod val="50000"/>
                  </a:schemeClr>
                </a:solidFill>
              </a:rPr>
              <a:t>Farge på formen kan endres.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>
                <a:solidFill>
                  <a:schemeClr val="bg1">
                    <a:lumMod val="50000"/>
                  </a:schemeClr>
                </a:solidFill>
              </a:rPr>
              <a:t>For å endre bilde: Formater bakgrunn &gt; fyll &gt; bilde eller tekstur </a:t>
            </a:r>
          </a:p>
          <a:p>
            <a:pPr algn="r"/>
            <a:endParaRPr lang="nb-NO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Friform 10">
            <a:extLst>
              <a:ext uri="{FF2B5EF4-FFF2-40B4-BE49-F238E27FC236}">
                <a16:creationId xmlns:a16="http://schemas.microsoft.com/office/drawing/2014/main" id="{505D8C42-E701-364B-94BF-749C0CACBD71}"/>
              </a:ext>
            </a:extLst>
          </p:cNvPr>
          <p:cNvSpPr/>
          <p:nvPr userDrawn="1"/>
        </p:nvSpPr>
        <p:spPr>
          <a:xfrm>
            <a:off x="11071224" y="6354318"/>
            <a:ext cx="771217" cy="152095"/>
          </a:xfrm>
          <a:custGeom>
            <a:avLst/>
            <a:gdLst>
              <a:gd name="connsiteX0" fmla="*/ 199054 w 771217"/>
              <a:gd name="connsiteY0" fmla="*/ 61515 h 152095"/>
              <a:gd name="connsiteX1" fmla="*/ 173594 w 771217"/>
              <a:gd name="connsiteY1" fmla="*/ 97655 h 152095"/>
              <a:gd name="connsiteX2" fmla="*/ 199054 w 771217"/>
              <a:gd name="connsiteY2" fmla="*/ 133795 h 152095"/>
              <a:gd name="connsiteX3" fmla="*/ 224669 w 771217"/>
              <a:gd name="connsiteY3" fmla="*/ 97655 h 152095"/>
              <a:gd name="connsiteX4" fmla="*/ 199054 w 771217"/>
              <a:gd name="connsiteY4" fmla="*/ 61515 h 152095"/>
              <a:gd name="connsiteX5" fmla="*/ 676473 w 771217"/>
              <a:gd name="connsiteY5" fmla="*/ 46290 h 152095"/>
              <a:gd name="connsiteX6" fmla="*/ 709032 w 771217"/>
              <a:gd name="connsiteY6" fmla="*/ 46290 h 152095"/>
              <a:gd name="connsiteX7" fmla="*/ 771217 w 771217"/>
              <a:gd name="connsiteY7" fmla="*/ 103345 h 152095"/>
              <a:gd name="connsiteX8" fmla="*/ 771217 w 771217"/>
              <a:gd name="connsiteY8" fmla="*/ 147327 h 152095"/>
              <a:gd name="connsiteX9" fmla="*/ 769828 w 771217"/>
              <a:gd name="connsiteY9" fmla="*/ 148711 h 152095"/>
              <a:gd name="connsiteX10" fmla="*/ 703477 w 771217"/>
              <a:gd name="connsiteY10" fmla="*/ 148711 h 152095"/>
              <a:gd name="connsiteX11" fmla="*/ 664129 w 771217"/>
              <a:gd name="connsiteY11" fmla="*/ 117185 h 152095"/>
              <a:gd name="connsiteX12" fmla="*/ 705328 w 771217"/>
              <a:gd name="connsiteY12" fmla="*/ 85813 h 152095"/>
              <a:gd name="connsiteX13" fmla="*/ 707952 w 771217"/>
              <a:gd name="connsiteY13" fmla="*/ 85813 h 152095"/>
              <a:gd name="connsiteX14" fmla="*/ 726931 w 771217"/>
              <a:gd name="connsiteY14" fmla="*/ 103498 h 152095"/>
              <a:gd name="connsiteX15" fmla="*/ 726931 w 771217"/>
              <a:gd name="connsiteY15" fmla="*/ 104729 h 152095"/>
              <a:gd name="connsiteX16" fmla="*/ 708415 w 771217"/>
              <a:gd name="connsiteY16" fmla="*/ 104729 h 152095"/>
              <a:gd name="connsiteX17" fmla="*/ 695762 w 771217"/>
              <a:gd name="connsiteY17" fmla="*/ 116716 h 152095"/>
              <a:gd name="connsiteX18" fmla="*/ 695762 w 771217"/>
              <a:gd name="connsiteY18" fmla="*/ 116724 h 152095"/>
              <a:gd name="connsiteX19" fmla="*/ 695762 w 771217"/>
              <a:gd name="connsiteY19" fmla="*/ 117185 h 152095"/>
              <a:gd name="connsiteX20" fmla="*/ 708415 w 771217"/>
              <a:gd name="connsiteY20" fmla="*/ 129796 h 152095"/>
              <a:gd name="connsiteX21" fmla="*/ 740664 w 771217"/>
              <a:gd name="connsiteY21" fmla="*/ 129796 h 152095"/>
              <a:gd name="connsiteX22" fmla="*/ 740664 w 771217"/>
              <a:gd name="connsiteY22" fmla="*/ 99346 h 152095"/>
              <a:gd name="connsiteX23" fmla="*/ 707026 w 771217"/>
              <a:gd name="connsiteY23" fmla="*/ 65821 h 152095"/>
              <a:gd name="connsiteX24" fmla="*/ 696224 w 771217"/>
              <a:gd name="connsiteY24" fmla="*/ 65821 h 152095"/>
              <a:gd name="connsiteX25" fmla="*/ 676475 w 771217"/>
              <a:gd name="connsiteY25" fmla="*/ 46662 h 152095"/>
              <a:gd name="connsiteX26" fmla="*/ 676473 w 771217"/>
              <a:gd name="connsiteY26" fmla="*/ 46598 h 152095"/>
              <a:gd name="connsiteX27" fmla="*/ 476154 w 771217"/>
              <a:gd name="connsiteY27" fmla="*/ 46290 h 152095"/>
              <a:gd name="connsiteX28" fmla="*/ 476185 w 771217"/>
              <a:gd name="connsiteY28" fmla="*/ 46290 h 152095"/>
              <a:gd name="connsiteX29" fmla="*/ 481740 w 771217"/>
              <a:gd name="connsiteY29" fmla="*/ 46290 h 152095"/>
              <a:gd name="connsiteX30" fmla="*/ 482975 w 771217"/>
              <a:gd name="connsiteY30" fmla="*/ 47520 h 152095"/>
              <a:gd name="connsiteX31" fmla="*/ 482975 w 771217"/>
              <a:gd name="connsiteY31" fmla="*/ 107650 h 152095"/>
              <a:gd name="connsiteX32" fmla="*/ 504732 w 771217"/>
              <a:gd name="connsiteY32" fmla="*/ 132256 h 152095"/>
              <a:gd name="connsiteX33" fmla="*/ 526489 w 771217"/>
              <a:gd name="connsiteY33" fmla="*/ 107650 h 152095"/>
              <a:gd name="connsiteX34" fmla="*/ 526489 w 771217"/>
              <a:gd name="connsiteY34" fmla="*/ 69665 h 152095"/>
              <a:gd name="connsiteX35" fmla="*/ 549912 w 771217"/>
              <a:gd name="connsiteY35" fmla="*/ 46290 h 152095"/>
              <a:gd name="connsiteX36" fmla="*/ 549943 w 771217"/>
              <a:gd name="connsiteY36" fmla="*/ 46290 h 152095"/>
              <a:gd name="connsiteX37" fmla="*/ 555498 w 771217"/>
              <a:gd name="connsiteY37" fmla="*/ 46290 h 152095"/>
              <a:gd name="connsiteX38" fmla="*/ 556887 w 771217"/>
              <a:gd name="connsiteY38" fmla="*/ 47366 h 152095"/>
              <a:gd name="connsiteX39" fmla="*/ 556887 w 771217"/>
              <a:gd name="connsiteY39" fmla="*/ 105190 h 152095"/>
              <a:gd name="connsiteX40" fmla="*/ 504886 w 771217"/>
              <a:gd name="connsiteY40" fmla="*/ 152095 h 152095"/>
              <a:gd name="connsiteX41" fmla="*/ 452731 w 771217"/>
              <a:gd name="connsiteY41" fmla="*/ 105344 h 152095"/>
              <a:gd name="connsiteX42" fmla="*/ 452731 w 771217"/>
              <a:gd name="connsiteY42" fmla="*/ 69665 h 152095"/>
              <a:gd name="connsiteX43" fmla="*/ 476154 w 771217"/>
              <a:gd name="connsiteY43" fmla="*/ 46290 h 152095"/>
              <a:gd name="connsiteX44" fmla="*/ 330522 w 771217"/>
              <a:gd name="connsiteY44" fmla="*/ 43829 h 152095"/>
              <a:gd name="connsiteX45" fmla="*/ 353822 w 771217"/>
              <a:gd name="connsiteY45" fmla="*/ 64283 h 152095"/>
              <a:gd name="connsiteX46" fmla="*/ 331139 w 771217"/>
              <a:gd name="connsiteY46" fmla="*/ 64129 h 152095"/>
              <a:gd name="connsiteX47" fmla="*/ 309382 w 771217"/>
              <a:gd name="connsiteY47" fmla="*/ 90580 h 152095"/>
              <a:gd name="connsiteX48" fmla="*/ 309382 w 771217"/>
              <a:gd name="connsiteY48" fmla="*/ 147481 h 152095"/>
              <a:gd name="connsiteX49" fmla="*/ 308179 w 771217"/>
              <a:gd name="connsiteY49" fmla="*/ 148711 h 152095"/>
              <a:gd name="connsiteX50" fmla="*/ 308148 w 771217"/>
              <a:gd name="connsiteY50" fmla="*/ 148711 h 152095"/>
              <a:gd name="connsiteX51" fmla="*/ 301821 w 771217"/>
              <a:gd name="connsiteY51" fmla="*/ 148711 h 152095"/>
              <a:gd name="connsiteX52" fmla="*/ 278367 w 771217"/>
              <a:gd name="connsiteY52" fmla="*/ 125366 h 152095"/>
              <a:gd name="connsiteX53" fmla="*/ 278367 w 771217"/>
              <a:gd name="connsiteY53" fmla="*/ 125336 h 152095"/>
              <a:gd name="connsiteX54" fmla="*/ 278367 w 771217"/>
              <a:gd name="connsiteY54" fmla="*/ 47674 h 152095"/>
              <a:gd name="connsiteX55" fmla="*/ 279601 w 771217"/>
              <a:gd name="connsiteY55" fmla="*/ 46443 h 152095"/>
              <a:gd name="connsiteX56" fmla="*/ 285928 w 771217"/>
              <a:gd name="connsiteY56" fmla="*/ 46443 h 152095"/>
              <a:gd name="connsiteX57" fmla="*/ 304907 w 771217"/>
              <a:gd name="connsiteY57" fmla="*/ 56132 h 152095"/>
              <a:gd name="connsiteX58" fmla="*/ 330522 w 771217"/>
              <a:gd name="connsiteY58" fmla="*/ 43829 h 152095"/>
              <a:gd name="connsiteX59" fmla="*/ 636817 w 771217"/>
              <a:gd name="connsiteY59" fmla="*/ 43676 h 152095"/>
              <a:gd name="connsiteX60" fmla="*/ 661043 w 771217"/>
              <a:gd name="connsiteY60" fmla="*/ 64130 h 152095"/>
              <a:gd name="connsiteX61" fmla="*/ 637434 w 771217"/>
              <a:gd name="connsiteY61" fmla="*/ 64130 h 152095"/>
              <a:gd name="connsiteX62" fmla="*/ 615677 w 771217"/>
              <a:gd name="connsiteY62" fmla="*/ 90581 h 152095"/>
              <a:gd name="connsiteX63" fmla="*/ 615677 w 771217"/>
              <a:gd name="connsiteY63" fmla="*/ 147481 h 152095"/>
              <a:gd name="connsiteX64" fmla="*/ 614473 w 771217"/>
              <a:gd name="connsiteY64" fmla="*/ 148712 h 152095"/>
              <a:gd name="connsiteX65" fmla="*/ 614443 w 771217"/>
              <a:gd name="connsiteY65" fmla="*/ 148712 h 152095"/>
              <a:gd name="connsiteX66" fmla="*/ 608270 w 771217"/>
              <a:gd name="connsiteY66" fmla="*/ 148712 h 152095"/>
              <a:gd name="connsiteX67" fmla="*/ 584816 w 771217"/>
              <a:gd name="connsiteY67" fmla="*/ 125367 h 152095"/>
              <a:gd name="connsiteX68" fmla="*/ 584816 w 771217"/>
              <a:gd name="connsiteY68" fmla="*/ 125336 h 152095"/>
              <a:gd name="connsiteX69" fmla="*/ 584816 w 771217"/>
              <a:gd name="connsiteY69" fmla="*/ 47674 h 152095"/>
              <a:gd name="connsiteX70" fmla="*/ 586050 w 771217"/>
              <a:gd name="connsiteY70" fmla="*/ 46444 h 152095"/>
              <a:gd name="connsiteX71" fmla="*/ 592377 w 771217"/>
              <a:gd name="connsiteY71" fmla="*/ 46444 h 152095"/>
              <a:gd name="connsiteX72" fmla="*/ 611202 w 771217"/>
              <a:gd name="connsiteY72" fmla="*/ 55979 h 152095"/>
              <a:gd name="connsiteX73" fmla="*/ 636817 w 771217"/>
              <a:gd name="connsiteY73" fmla="*/ 43676 h 152095"/>
              <a:gd name="connsiteX74" fmla="*/ 199054 w 771217"/>
              <a:gd name="connsiteY74" fmla="*/ 43061 h 152095"/>
              <a:gd name="connsiteX75" fmla="*/ 257227 w 771217"/>
              <a:gd name="connsiteY75" fmla="*/ 97501 h 152095"/>
              <a:gd name="connsiteX76" fmla="*/ 199054 w 771217"/>
              <a:gd name="connsiteY76" fmla="*/ 151941 h 152095"/>
              <a:gd name="connsiteX77" fmla="*/ 141190 w 771217"/>
              <a:gd name="connsiteY77" fmla="*/ 97655 h 152095"/>
              <a:gd name="connsiteX78" fmla="*/ 199054 w 771217"/>
              <a:gd name="connsiteY78" fmla="*/ 43061 h 152095"/>
              <a:gd name="connsiteX79" fmla="*/ 1203 w 771217"/>
              <a:gd name="connsiteY79" fmla="*/ 14764 h 152095"/>
              <a:gd name="connsiteX80" fmla="*/ 1235 w 771217"/>
              <a:gd name="connsiteY80" fmla="*/ 14764 h 152095"/>
              <a:gd name="connsiteX81" fmla="*/ 42125 w 771217"/>
              <a:gd name="connsiteY81" fmla="*/ 14764 h 152095"/>
              <a:gd name="connsiteX82" fmla="*/ 120667 w 771217"/>
              <a:gd name="connsiteY82" fmla="*/ 93809 h 152095"/>
              <a:gd name="connsiteX83" fmla="*/ 120667 w 771217"/>
              <a:gd name="connsiteY83" fmla="*/ 125336 h 152095"/>
              <a:gd name="connsiteX84" fmla="*/ 97490 w 771217"/>
              <a:gd name="connsiteY84" fmla="*/ 148711 h 152095"/>
              <a:gd name="connsiteX85" fmla="*/ 97367 w 771217"/>
              <a:gd name="connsiteY85" fmla="*/ 148711 h 152095"/>
              <a:gd name="connsiteX86" fmla="*/ 97058 w 771217"/>
              <a:gd name="connsiteY86" fmla="*/ 148711 h 152095"/>
              <a:gd name="connsiteX87" fmla="*/ 89497 w 771217"/>
              <a:gd name="connsiteY87" fmla="*/ 148711 h 152095"/>
              <a:gd name="connsiteX88" fmla="*/ 88263 w 771217"/>
              <a:gd name="connsiteY88" fmla="*/ 147512 h 152095"/>
              <a:gd name="connsiteX89" fmla="*/ 88263 w 771217"/>
              <a:gd name="connsiteY89" fmla="*/ 147481 h 152095"/>
              <a:gd name="connsiteX90" fmla="*/ 88263 w 771217"/>
              <a:gd name="connsiteY90" fmla="*/ 88888 h 152095"/>
              <a:gd name="connsiteX91" fmla="*/ 32250 w 771217"/>
              <a:gd name="connsiteY91" fmla="*/ 34294 h 152095"/>
              <a:gd name="connsiteX92" fmla="*/ 32250 w 771217"/>
              <a:gd name="connsiteY92" fmla="*/ 125182 h 152095"/>
              <a:gd name="connsiteX93" fmla="*/ 8826 w 771217"/>
              <a:gd name="connsiteY93" fmla="*/ 148557 h 152095"/>
              <a:gd name="connsiteX94" fmla="*/ 8795 w 771217"/>
              <a:gd name="connsiteY94" fmla="*/ 148557 h 152095"/>
              <a:gd name="connsiteX95" fmla="*/ 1235 w 771217"/>
              <a:gd name="connsiteY95" fmla="*/ 148557 h 152095"/>
              <a:gd name="connsiteX96" fmla="*/ 0 w 771217"/>
              <a:gd name="connsiteY96" fmla="*/ 147358 h 152095"/>
              <a:gd name="connsiteX97" fmla="*/ 0 w 771217"/>
              <a:gd name="connsiteY97" fmla="*/ 147327 h 152095"/>
              <a:gd name="connsiteX98" fmla="*/ 0 w 771217"/>
              <a:gd name="connsiteY98" fmla="*/ 15994 h 152095"/>
              <a:gd name="connsiteX99" fmla="*/ 1203 w 771217"/>
              <a:gd name="connsiteY99" fmla="*/ 14764 h 152095"/>
              <a:gd name="connsiteX100" fmla="*/ 411347 w 771217"/>
              <a:gd name="connsiteY100" fmla="*/ 0 h 152095"/>
              <a:gd name="connsiteX101" fmla="*/ 411378 w 771217"/>
              <a:gd name="connsiteY101" fmla="*/ 0 h 152095"/>
              <a:gd name="connsiteX102" fmla="*/ 417704 w 771217"/>
              <a:gd name="connsiteY102" fmla="*/ 0 h 152095"/>
              <a:gd name="connsiteX103" fmla="*/ 418939 w 771217"/>
              <a:gd name="connsiteY103" fmla="*/ 1230 h 152095"/>
              <a:gd name="connsiteX104" fmla="*/ 418939 w 771217"/>
              <a:gd name="connsiteY104" fmla="*/ 46290 h 152095"/>
              <a:gd name="connsiteX105" fmla="*/ 442702 w 771217"/>
              <a:gd name="connsiteY105" fmla="*/ 46290 h 152095"/>
              <a:gd name="connsiteX106" fmla="*/ 422796 w 771217"/>
              <a:gd name="connsiteY106" fmla="*/ 64282 h 152095"/>
              <a:gd name="connsiteX107" fmla="*/ 418784 w 771217"/>
              <a:gd name="connsiteY107" fmla="*/ 64282 h 152095"/>
              <a:gd name="connsiteX108" fmla="*/ 418784 w 771217"/>
              <a:gd name="connsiteY108" fmla="*/ 125335 h 152095"/>
              <a:gd name="connsiteX109" fmla="*/ 395361 w 771217"/>
              <a:gd name="connsiteY109" fmla="*/ 148711 h 152095"/>
              <a:gd name="connsiteX110" fmla="*/ 395330 w 771217"/>
              <a:gd name="connsiteY110" fmla="*/ 148711 h 152095"/>
              <a:gd name="connsiteX111" fmla="*/ 389158 w 771217"/>
              <a:gd name="connsiteY111" fmla="*/ 148711 h 152095"/>
              <a:gd name="connsiteX112" fmla="*/ 387923 w 771217"/>
              <a:gd name="connsiteY112" fmla="*/ 147512 h 152095"/>
              <a:gd name="connsiteX113" fmla="*/ 387923 w 771217"/>
              <a:gd name="connsiteY113" fmla="*/ 147481 h 152095"/>
              <a:gd name="connsiteX114" fmla="*/ 387923 w 771217"/>
              <a:gd name="connsiteY114" fmla="*/ 64282 h 152095"/>
              <a:gd name="connsiteX115" fmla="*/ 364006 w 771217"/>
              <a:gd name="connsiteY115" fmla="*/ 64282 h 152095"/>
              <a:gd name="connsiteX116" fmla="*/ 383911 w 771217"/>
              <a:gd name="connsiteY116" fmla="*/ 46443 h 152095"/>
              <a:gd name="connsiteX117" fmla="*/ 387923 w 771217"/>
              <a:gd name="connsiteY117" fmla="*/ 46443 h 152095"/>
              <a:gd name="connsiteX118" fmla="*/ 387923 w 771217"/>
              <a:gd name="connsiteY118" fmla="*/ 23375 h 152095"/>
              <a:gd name="connsiteX119" fmla="*/ 411347 w 771217"/>
              <a:gd name="connsiteY119" fmla="*/ 0 h 152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771217" h="152095">
                <a:moveTo>
                  <a:pt x="199054" y="61515"/>
                </a:moveTo>
                <a:cubicBezTo>
                  <a:pt x="185013" y="61515"/>
                  <a:pt x="173594" y="77663"/>
                  <a:pt x="173594" y="97655"/>
                </a:cubicBezTo>
                <a:cubicBezTo>
                  <a:pt x="173594" y="117647"/>
                  <a:pt x="185013" y="133795"/>
                  <a:pt x="199054" y="133795"/>
                </a:cubicBezTo>
                <a:cubicBezTo>
                  <a:pt x="213096" y="133795"/>
                  <a:pt x="224669" y="117647"/>
                  <a:pt x="224669" y="97655"/>
                </a:cubicBezTo>
                <a:cubicBezTo>
                  <a:pt x="224669" y="77663"/>
                  <a:pt x="213250" y="61515"/>
                  <a:pt x="199054" y="61515"/>
                </a:cubicBezTo>
                <a:close/>
                <a:moveTo>
                  <a:pt x="676473" y="46290"/>
                </a:moveTo>
                <a:lnTo>
                  <a:pt x="709032" y="46290"/>
                </a:lnTo>
                <a:cubicBezTo>
                  <a:pt x="752546" y="46290"/>
                  <a:pt x="771217" y="68128"/>
                  <a:pt x="771217" y="103345"/>
                </a:cubicBezTo>
                <a:lnTo>
                  <a:pt x="771217" y="147327"/>
                </a:lnTo>
                <a:cubicBezTo>
                  <a:pt x="771062" y="148096"/>
                  <a:pt x="770599" y="148711"/>
                  <a:pt x="769828" y="148711"/>
                </a:cubicBezTo>
                <a:lnTo>
                  <a:pt x="703477" y="148711"/>
                </a:lnTo>
                <a:cubicBezTo>
                  <a:pt x="681257" y="148711"/>
                  <a:pt x="664129" y="134563"/>
                  <a:pt x="664129" y="117185"/>
                </a:cubicBezTo>
                <a:cubicBezTo>
                  <a:pt x="664129" y="99807"/>
                  <a:pt x="681565" y="85813"/>
                  <a:pt x="705328" y="85813"/>
                </a:cubicBezTo>
                <a:lnTo>
                  <a:pt x="707952" y="85813"/>
                </a:lnTo>
                <a:cubicBezTo>
                  <a:pt x="718063" y="85552"/>
                  <a:pt x="726513" y="93426"/>
                  <a:pt x="726931" y="103498"/>
                </a:cubicBezTo>
                <a:lnTo>
                  <a:pt x="726931" y="104729"/>
                </a:lnTo>
                <a:lnTo>
                  <a:pt x="708415" y="104729"/>
                </a:lnTo>
                <a:cubicBezTo>
                  <a:pt x="701599" y="104557"/>
                  <a:pt x="695934" y="109924"/>
                  <a:pt x="695762" y="116716"/>
                </a:cubicBezTo>
                <a:cubicBezTo>
                  <a:pt x="695762" y="116719"/>
                  <a:pt x="695762" y="116721"/>
                  <a:pt x="695762" y="116724"/>
                </a:cubicBezTo>
                <a:lnTo>
                  <a:pt x="695762" y="117185"/>
                </a:lnTo>
                <a:cubicBezTo>
                  <a:pt x="695795" y="124136"/>
                  <a:pt x="701440" y="129762"/>
                  <a:pt x="708415" y="129796"/>
                </a:cubicBezTo>
                <a:lnTo>
                  <a:pt x="740664" y="129796"/>
                </a:lnTo>
                <a:lnTo>
                  <a:pt x="740664" y="99346"/>
                </a:lnTo>
                <a:cubicBezTo>
                  <a:pt x="740664" y="78585"/>
                  <a:pt x="729246" y="65821"/>
                  <a:pt x="707026" y="65821"/>
                </a:cubicBezTo>
                <a:lnTo>
                  <a:pt x="696224" y="65821"/>
                </a:lnTo>
                <a:cubicBezTo>
                  <a:pt x="685462" y="65966"/>
                  <a:pt x="676620" y="57388"/>
                  <a:pt x="676475" y="46662"/>
                </a:cubicBezTo>
                <a:cubicBezTo>
                  <a:pt x="676473" y="46640"/>
                  <a:pt x="676473" y="46619"/>
                  <a:pt x="676473" y="46598"/>
                </a:cubicBezTo>
                <a:close/>
                <a:moveTo>
                  <a:pt x="476154" y="46290"/>
                </a:moveTo>
                <a:cubicBezTo>
                  <a:pt x="476165" y="46290"/>
                  <a:pt x="476175" y="46290"/>
                  <a:pt x="476185" y="46290"/>
                </a:cubicBezTo>
                <a:lnTo>
                  <a:pt x="481740" y="46290"/>
                </a:lnTo>
                <a:cubicBezTo>
                  <a:pt x="482402" y="46334"/>
                  <a:pt x="482930" y="46860"/>
                  <a:pt x="482975" y="47520"/>
                </a:cubicBezTo>
                <a:lnTo>
                  <a:pt x="482975" y="107650"/>
                </a:lnTo>
                <a:cubicBezTo>
                  <a:pt x="482975" y="121645"/>
                  <a:pt x="492696" y="132256"/>
                  <a:pt x="504732" y="132256"/>
                </a:cubicBezTo>
                <a:cubicBezTo>
                  <a:pt x="516768" y="132256"/>
                  <a:pt x="526489" y="121491"/>
                  <a:pt x="526489" y="107650"/>
                </a:cubicBezTo>
                <a:lnTo>
                  <a:pt x="526489" y="69665"/>
                </a:lnTo>
                <a:cubicBezTo>
                  <a:pt x="526480" y="56764"/>
                  <a:pt x="536968" y="46298"/>
                  <a:pt x="549912" y="46290"/>
                </a:cubicBezTo>
                <a:cubicBezTo>
                  <a:pt x="549923" y="46290"/>
                  <a:pt x="549932" y="46290"/>
                  <a:pt x="549943" y="46290"/>
                </a:cubicBezTo>
                <a:lnTo>
                  <a:pt x="555498" y="46290"/>
                </a:lnTo>
                <a:cubicBezTo>
                  <a:pt x="556115" y="46136"/>
                  <a:pt x="556733" y="46751"/>
                  <a:pt x="556887" y="47366"/>
                </a:cubicBezTo>
                <a:lnTo>
                  <a:pt x="556887" y="105190"/>
                </a:lnTo>
                <a:cubicBezTo>
                  <a:pt x="557041" y="131795"/>
                  <a:pt x="533741" y="152095"/>
                  <a:pt x="504886" y="152095"/>
                </a:cubicBezTo>
                <a:cubicBezTo>
                  <a:pt x="476031" y="152095"/>
                  <a:pt x="452731" y="131641"/>
                  <a:pt x="452731" y="105344"/>
                </a:cubicBezTo>
                <a:lnTo>
                  <a:pt x="452731" y="69665"/>
                </a:lnTo>
                <a:cubicBezTo>
                  <a:pt x="452722" y="56764"/>
                  <a:pt x="463210" y="46298"/>
                  <a:pt x="476154" y="46290"/>
                </a:cubicBezTo>
                <a:close/>
                <a:moveTo>
                  <a:pt x="330522" y="43829"/>
                </a:moveTo>
                <a:cubicBezTo>
                  <a:pt x="347804" y="43829"/>
                  <a:pt x="353822" y="53210"/>
                  <a:pt x="353822" y="64283"/>
                </a:cubicBezTo>
                <a:lnTo>
                  <a:pt x="331139" y="64129"/>
                </a:lnTo>
                <a:cubicBezTo>
                  <a:pt x="313857" y="64129"/>
                  <a:pt x="309382" y="71664"/>
                  <a:pt x="309382" y="90580"/>
                </a:cubicBezTo>
                <a:lnTo>
                  <a:pt x="309382" y="147481"/>
                </a:lnTo>
                <a:cubicBezTo>
                  <a:pt x="309392" y="148152"/>
                  <a:pt x="308852" y="148702"/>
                  <a:pt x="308179" y="148711"/>
                </a:cubicBezTo>
                <a:cubicBezTo>
                  <a:pt x="308168" y="148711"/>
                  <a:pt x="308159" y="148711"/>
                  <a:pt x="308148" y="148711"/>
                </a:cubicBezTo>
                <a:lnTo>
                  <a:pt x="301821" y="148711"/>
                </a:lnTo>
                <a:cubicBezTo>
                  <a:pt x="288877" y="148719"/>
                  <a:pt x="278376" y="138268"/>
                  <a:pt x="278367" y="125366"/>
                </a:cubicBezTo>
                <a:cubicBezTo>
                  <a:pt x="278367" y="125356"/>
                  <a:pt x="278367" y="125346"/>
                  <a:pt x="278367" y="125336"/>
                </a:cubicBezTo>
                <a:lnTo>
                  <a:pt x="278367" y="47674"/>
                </a:lnTo>
                <a:cubicBezTo>
                  <a:pt x="278412" y="47014"/>
                  <a:pt x="278939" y="46488"/>
                  <a:pt x="279601" y="46443"/>
                </a:cubicBezTo>
                <a:lnTo>
                  <a:pt x="285928" y="46443"/>
                </a:lnTo>
                <a:cubicBezTo>
                  <a:pt x="293455" y="46421"/>
                  <a:pt x="300527" y="50031"/>
                  <a:pt x="304907" y="56132"/>
                </a:cubicBezTo>
                <a:cubicBezTo>
                  <a:pt x="311388" y="47827"/>
                  <a:pt x="316326" y="43829"/>
                  <a:pt x="330522" y="43829"/>
                </a:cubicBezTo>
                <a:close/>
                <a:moveTo>
                  <a:pt x="636817" y="43676"/>
                </a:moveTo>
                <a:cubicBezTo>
                  <a:pt x="654099" y="43676"/>
                  <a:pt x="661043" y="53057"/>
                  <a:pt x="661043" y="64130"/>
                </a:cubicBezTo>
                <a:lnTo>
                  <a:pt x="637434" y="64130"/>
                </a:lnTo>
                <a:cubicBezTo>
                  <a:pt x="620306" y="64130"/>
                  <a:pt x="615677" y="71665"/>
                  <a:pt x="615677" y="90581"/>
                </a:cubicBezTo>
                <a:lnTo>
                  <a:pt x="615677" y="147481"/>
                </a:lnTo>
                <a:cubicBezTo>
                  <a:pt x="615686" y="148152"/>
                  <a:pt x="615146" y="148703"/>
                  <a:pt x="614473" y="148712"/>
                </a:cubicBezTo>
                <a:cubicBezTo>
                  <a:pt x="614463" y="148712"/>
                  <a:pt x="614453" y="148712"/>
                  <a:pt x="614443" y="148712"/>
                </a:cubicBezTo>
                <a:lnTo>
                  <a:pt x="608270" y="148712"/>
                </a:lnTo>
                <a:cubicBezTo>
                  <a:pt x="595326" y="148720"/>
                  <a:pt x="584825" y="138268"/>
                  <a:pt x="584816" y="125367"/>
                </a:cubicBezTo>
                <a:cubicBezTo>
                  <a:pt x="584816" y="125357"/>
                  <a:pt x="584816" y="125347"/>
                  <a:pt x="584816" y="125336"/>
                </a:cubicBezTo>
                <a:lnTo>
                  <a:pt x="584816" y="47674"/>
                </a:lnTo>
                <a:cubicBezTo>
                  <a:pt x="584861" y="47014"/>
                  <a:pt x="585388" y="46489"/>
                  <a:pt x="586050" y="46444"/>
                </a:cubicBezTo>
                <a:lnTo>
                  <a:pt x="592377" y="46444"/>
                </a:lnTo>
                <a:cubicBezTo>
                  <a:pt x="599805" y="46502"/>
                  <a:pt x="606777" y="50033"/>
                  <a:pt x="611202" y="55979"/>
                </a:cubicBezTo>
                <a:cubicBezTo>
                  <a:pt x="617683" y="47674"/>
                  <a:pt x="622621" y="43676"/>
                  <a:pt x="636817" y="43676"/>
                </a:cubicBezTo>
                <a:close/>
                <a:moveTo>
                  <a:pt x="199054" y="43061"/>
                </a:moveTo>
                <a:cubicBezTo>
                  <a:pt x="231613" y="43061"/>
                  <a:pt x="257227" y="67667"/>
                  <a:pt x="257227" y="97501"/>
                </a:cubicBezTo>
                <a:cubicBezTo>
                  <a:pt x="257227" y="127336"/>
                  <a:pt x="231767" y="151941"/>
                  <a:pt x="199054" y="151941"/>
                </a:cubicBezTo>
                <a:cubicBezTo>
                  <a:pt x="166496" y="151941"/>
                  <a:pt x="141190" y="127643"/>
                  <a:pt x="141190" y="97655"/>
                </a:cubicBezTo>
                <a:cubicBezTo>
                  <a:pt x="141190" y="67667"/>
                  <a:pt x="166496" y="43061"/>
                  <a:pt x="199054" y="43061"/>
                </a:cubicBezTo>
                <a:close/>
                <a:moveTo>
                  <a:pt x="1203" y="14764"/>
                </a:moveTo>
                <a:cubicBezTo>
                  <a:pt x="1214" y="14763"/>
                  <a:pt x="1224" y="14763"/>
                  <a:pt x="1235" y="14764"/>
                </a:cubicBezTo>
                <a:lnTo>
                  <a:pt x="42125" y="14764"/>
                </a:lnTo>
                <a:cubicBezTo>
                  <a:pt x="87645" y="14610"/>
                  <a:pt x="120667" y="47674"/>
                  <a:pt x="120667" y="93809"/>
                </a:cubicBezTo>
                <a:lnTo>
                  <a:pt x="120667" y="125336"/>
                </a:lnTo>
                <a:cubicBezTo>
                  <a:pt x="120743" y="138169"/>
                  <a:pt x="110367" y="148634"/>
                  <a:pt x="97490" y="148711"/>
                </a:cubicBezTo>
                <a:cubicBezTo>
                  <a:pt x="97449" y="148711"/>
                  <a:pt x="97408" y="148711"/>
                  <a:pt x="97367" y="148711"/>
                </a:cubicBezTo>
                <a:lnTo>
                  <a:pt x="97058" y="148711"/>
                </a:lnTo>
                <a:lnTo>
                  <a:pt x="89497" y="148711"/>
                </a:lnTo>
                <a:cubicBezTo>
                  <a:pt x="88824" y="148720"/>
                  <a:pt x="88271" y="148183"/>
                  <a:pt x="88263" y="147512"/>
                </a:cubicBezTo>
                <a:cubicBezTo>
                  <a:pt x="88262" y="147501"/>
                  <a:pt x="88262" y="147491"/>
                  <a:pt x="88263" y="147481"/>
                </a:cubicBezTo>
                <a:lnTo>
                  <a:pt x="88263" y="88888"/>
                </a:lnTo>
                <a:cubicBezTo>
                  <a:pt x="88263" y="56901"/>
                  <a:pt x="68666" y="34294"/>
                  <a:pt x="32250" y="34294"/>
                </a:cubicBezTo>
                <a:lnTo>
                  <a:pt x="32250" y="125182"/>
                </a:lnTo>
                <a:cubicBezTo>
                  <a:pt x="32258" y="138083"/>
                  <a:pt x="21771" y="148549"/>
                  <a:pt x="8826" y="148557"/>
                </a:cubicBezTo>
                <a:cubicBezTo>
                  <a:pt x="8816" y="148557"/>
                  <a:pt x="8806" y="148557"/>
                  <a:pt x="8795" y="148557"/>
                </a:cubicBezTo>
                <a:lnTo>
                  <a:pt x="1235" y="148557"/>
                </a:lnTo>
                <a:cubicBezTo>
                  <a:pt x="561" y="148566"/>
                  <a:pt x="9" y="148029"/>
                  <a:pt x="0" y="147358"/>
                </a:cubicBezTo>
                <a:cubicBezTo>
                  <a:pt x="0" y="147348"/>
                  <a:pt x="0" y="147337"/>
                  <a:pt x="0" y="147327"/>
                </a:cubicBezTo>
                <a:lnTo>
                  <a:pt x="0" y="15994"/>
                </a:lnTo>
                <a:cubicBezTo>
                  <a:pt x="-8" y="15323"/>
                  <a:pt x="530" y="14772"/>
                  <a:pt x="1203" y="14764"/>
                </a:cubicBezTo>
                <a:close/>
                <a:moveTo>
                  <a:pt x="411347" y="0"/>
                </a:moveTo>
                <a:cubicBezTo>
                  <a:pt x="411358" y="0"/>
                  <a:pt x="411367" y="0"/>
                  <a:pt x="411378" y="0"/>
                </a:cubicBezTo>
                <a:lnTo>
                  <a:pt x="417704" y="0"/>
                </a:lnTo>
                <a:cubicBezTo>
                  <a:pt x="418366" y="45"/>
                  <a:pt x="418894" y="570"/>
                  <a:pt x="418939" y="1230"/>
                </a:cubicBezTo>
                <a:lnTo>
                  <a:pt x="418939" y="46290"/>
                </a:lnTo>
                <a:lnTo>
                  <a:pt x="442702" y="46290"/>
                </a:lnTo>
                <a:cubicBezTo>
                  <a:pt x="442702" y="57362"/>
                  <a:pt x="433752" y="64282"/>
                  <a:pt x="422796" y="64282"/>
                </a:cubicBezTo>
                <a:lnTo>
                  <a:pt x="418784" y="64282"/>
                </a:lnTo>
                <a:lnTo>
                  <a:pt x="418784" y="125335"/>
                </a:lnTo>
                <a:cubicBezTo>
                  <a:pt x="418794" y="138237"/>
                  <a:pt x="408305" y="148702"/>
                  <a:pt x="395361" y="148711"/>
                </a:cubicBezTo>
                <a:cubicBezTo>
                  <a:pt x="395350" y="148711"/>
                  <a:pt x="395341" y="148711"/>
                  <a:pt x="395330" y="148711"/>
                </a:cubicBezTo>
                <a:lnTo>
                  <a:pt x="389158" y="148711"/>
                </a:lnTo>
                <a:cubicBezTo>
                  <a:pt x="388485" y="148720"/>
                  <a:pt x="387933" y="148183"/>
                  <a:pt x="387923" y="147512"/>
                </a:cubicBezTo>
                <a:cubicBezTo>
                  <a:pt x="387923" y="147501"/>
                  <a:pt x="387923" y="147491"/>
                  <a:pt x="387923" y="147481"/>
                </a:cubicBezTo>
                <a:lnTo>
                  <a:pt x="387923" y="64282"/>
                </a:lnTo>
                <a:lnTo>
                  <a:pt x="364006" y="64282"/>
                </a:lnTo>
                <a:cubicBezTo>
                  <a:pt x="364006" y="53364"/>
                  <a:pt x="372801" y="46443"/>
                  <a:pt x="383911" y="46443"/>
                </a:cubicBezTo>
                <a:lnTo>
                  <a:pt x="387923" y="46443"/>
                </a:lnTo>
                <a:lnTo>
                  <a:pt x="387923" y="23375"/>
                </a:lnTo>
                <a:cubicBezTo>
                  <a:pt x="387914" y="10474"/>
                  <a:pt x="398402" y="9"/>
                  <a:pt x="411347" y="0"/>
                </a:cubicBezTo>
                <a:close/>
              </a:path>
            </a:pathLst>
          </a:custGeom>
          <a:solidFill>
            <a:schemeClr val="bg1"/>
          </a:solidFill>
          <a:ln w="1543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6254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>
        <p:tmplLst>
          <p:tmpl>
            <p:tnLst>
              <p:par>
                <p:cTn presetID="2" presetClass="entr" presetSubtype="8" decel="5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slide 20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iform 13">
            <a:extLst>
              <a:ext uri="{FF2B5EF4-FFF2-40B4-BE49-F238E27FC236}">
                <a16:creationId xmlns:a16="http://schemas.microsoft.com/office/drawing/2014/main" id="{AB42675A-BCEE-8F4B-855F-FE5EC0BCE92A}"/>
              </a:ext>
            </a:extLst>
          </p:cNvPr>
          <p:cNvSpPr/>
          <p:nvPr userDrawn="1"/>
        </p:nvSpPr>
        <p:spPr>
          <a:xfrm>
            <a:off x="0" y="1"/>
            <a:ext cx="7355454" cy="6858001"/>
          </a:xfrm>
          <a:custGeom>
            <a:avLst/>
            <a:gdLst>
              <a:gd name="connsiteX0" fmla="*/ 0 w 7355454"/>
              <a:gd name="connsiteY0" fmla="*/ 0 h 6858001"/>
              <a:gd name="connsiteX1" fmla="*/ 4217948 w 7355454"/>
              <a:gd name="connsiteY1" fmla="*/ 0 h 6858001"/>
              <a:gd name="connsiteX2" fmla="*/ 4292925 w 7355454"/>
              <a:gd name="connsiteY2" fmla="*/ 27159 h 6858001"/>
              <a:gd name="connsiteX3" fmla="*/ 6537868 w 7355454"/>
              <a:gd name="connsiteY3" fmla="*/ 1407238 h 6858001"/>
              <a:gd name="connsiteX4" fmla="*/ 5426710 w 7355454"/>
              <a:gd name="connsiteY4" fmla="*/ 6752092 h 6858001"/>
              <a:gd name="connsiteX5" fmla="*/ 5287384 w 7355454"/>
              <a:gd name="connsiteY5" fmla="*/ 6858001 h 6858001"/>
              <a:gd name="connsiteX6" fmla="*/ 1377399 w 7355454"/>
              <a:gd name="connsiteY6" fmla="*/ 6858001 h 6858001"/>
              <a:gd name="connsiteX7" fmla="*/ 1377397 w 7355454"/>
              <a:gd name="connsiteY7" fmla="*/ 6857999 h 6858001"/>
              <a:gd name="connsiteX8" fmla="*/ 0 w 7355454"/>
              <a:gd name="connsiteY8" fmla="*/ 6857999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55454" h="6858001">
                <a:moveTo>
                  <a:pt x="0" y="0"/>
                </a:moveTo>
                <a:lnTo>
                  <a:pt x="4217948" y="0"/>
                </a:lnTo>
                <a:lnTo>
                  <a:pt x="4292925" y="27159"/>
                </a:lnTo>
                <a:cubicBezTo>
                  <a:pt x="5106245" y="347178"/>
                  <a:pt x="5885393" y="830883"/>
                  <a:pt x="6537868" y="1407238"/>
                </a:cubicBezTo>
                <a:cubicBezTo>
                  <a:pt x="8258287" y="2928061"/>
                  <a:pt x="6960863" y="5530056"/>
                  <a:pt x="5426710" y="6752092"/>
                </a:cubicBezTo>
                <a:lnTo>
                  <a:pt x="5287384" y="6858001"/>
                </a:lnTo>
                <a:lnTo>
                  <a:pt x="1377399" y="6858001"/>
                </a:lnTo>
                <a:lnTo>
                  <a:pt x="1377397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/>
          </a:solidFill>
          <a:ln w="9494" cap="flat">
            <a:noFill/>
            <a:prstDash val="solid"/>
            <a:miter/>
          </a:ln>
        </p:spPr>
        <p:txBody>
          <a:bodyPr rtlCol="0" anchor="ctr"/>
          <a:lstStyle/>
          <a:p>
            <a:endParaRPr lang="nb-NO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F6094130-4E5F-CF49-B225-2615CD070C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5264150" cy="2852737"/>
          </a:xfrm>
        </p:spPr>
        <p:txBody>
          <a:bodyPr anchor="b">
            <a:normAutofit/>
          </a:bodyPr>
          <a:lstStyle>
            <a:lvl1pPr>
              <a:defRPr sz="4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5EDA9116-4EE7-4249-A6ED-F99E199D5D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526415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Friform 14">
            <a:extLst>
              <a:ext uri="{FF2B5EF4-FFF2-40B4-BE49-F238E27FC236}">
                <a16:creationId xmlns:a16="http://schemas.microsoft.com/office/drawing/2014/main" id="{1C885C18-FF96-F34F-B300-094FA76B4CF0}"/>
              </a:ext>
            </a:extLst>
          </p:cNvPr>
          <p:cNvSpPr/>
          <p:nvPr userDrawn="1"/>
        </p:nvSpPr>
        <p:spPr>
          <a:xfrm>
            <a:off x="11071224" y="6354318"/>
            <a:ext cx="771217" cy="152095"/>
          </a:xfrm>
          <a:custGeom>
            <a:avLst/>
            <a:gdLst>
              <a:gd name="connsiteX0" fmla="*/ 199054 w 771217"/>
              <a:gd name="connsiteY0" fmla="*/ 61515 h 152095"/>
              <a:gd name="connsiteX1" fmla="*/ 173594 w 771217"/>
              <a:gd name="connsiteY1" fmla="*/ 97655 h 152095"/>
              <a:gd name="connsiteX2" fmla="*/ 199054 w 771217"/>
              <a:gd name="connsiteY2" fmla="*/ 133795 h 152095"/>
              <a:gd name="connsiteX3" fmla="*/ 224669 w 771217"/>
              <a:gd name="connsiteY3" fmla="*/ 97655 h 152095"/>
              <a:gd name="connsiteX4" fmla="*/ 199054 w 771217"/>
              <a:gd name="connsiteY4" fmla="*/ 61515 h 152095"/>
              <a:gd name="connsiteX5" fmla="*/ 676473 w 771217"/>
              <a:gd name="connsiteY5" fmla="*/ 46290 h 152095"/>
              <a:gd name="connsiteX6" fmla="*/ 709032 w 771217"/>
              <a:gd name="connsiteY6" fmla="*/ 46290 h 152095"/>
              <a:gd name="connsiteX7" fmla="*/ 771217 w 771217"/>
              <a:gd name="connsiteY7" fmla="*/ 103345 h 152095"/>
              <a:gd name="connsiteX8" fmla="*/ 771217 w 771217"/>
              <a:gd name="connsiteY8" fmla="*/ 147327 h 152095"/>
              <a:gd name="connsiteX9" fmla="*/ 769828 w 771217"/>
              <a:gd name="connsiteY9" fmla="*/ 148711 h 152095"/>
              <a:gd name="connsiteX10" fmla="*/ 703477 w 771217"/>
              <a:gd name="connsiteY10" fmla="*/ 148711 h 152095"/>
              <a:gd name="connsiteX11" fmla="*/ 664129 w 771217"/>
              <a:gd name="connsiteY11" fmla="*/ 117185 h 152095"/>
              <a:gd name="connsiteX12" fmla="*/ 705328 w 771217"/>
              <a:gd name="connsiteY12" fmla="*/ 85813 h 152095"/>
              <a:gd name="connsiteX13" fmla="*/ 707952 w 771217"/>
              <a:gd name="connsiteY13" fmla="*/ 85813 h 152095"/>
              <a:gd name="connsiteX14" fmla="*/ 726931 w 771217"/>
              <a:gd name="connsiteY14" fmla="*/ 103498 h 152095"/>
              <a:gd name="connsiteX15" fmla="*/ 726931 w 771217"/>
              <a:gd name="connsiteY15" fmla="*/ 104729 h 152095"/>
              <a:gd name="connsiteX16" fmla="*/ 708415 w 771217"/>
              <a:gd name="connsiteY16" fmla="*/ 104729 h 152095"/>
              <a:gd name="connsiteX17" fmla="*/ 695762 w 771217"/>
              <a:gd name="connsiteY17" fmla="*/ 116716 h 152095"/>
              <a:gd name="connsiteX18" fmla="*/ 695762 w 771217"/>
              <a:gd name="connsiteY18" fmla="*/ 116724 h 152095"/>
              <a:gd name="connsiteX19" fmla="*/ 695762 w 771217"/>
              <a:gd name="connsiteY19" fmla="*/ 117185 h 152095"/>
              <a:gd name="connsiteX20" fmla="*/ 708415 w 771217"/>
              <a:gd name="connsiteY20" fmla="*/ 129796 h 152095"/>
              <a:gd name="connsiteX21" fmla="*/ 740664 w 771217"/>
              <a:gd name="connsiteY21" fmla="*/ 129796 h 152095"/>
              <a:gd name="connsiteX22" fmla="*/ 740664 w 771217"/>
              <a:gd name="connsiteY22" fmla="*/ 99346 h 152095"/>
              <a:gd name="connsiteX23" fmla="*/ 707026 w 771217"/>
              <a:gd name="connsiteY23" fmla="*/ 65821 h 152095"/>
              <a:gd name="connsiteX24" fmla="*/ 696224 w 771217"/>
              <a:gd name="connsiteY24" fmla="*/ 65821 h 152095"/>
              <a:gd name="connsiteX25" fmla="*/ 676475 w 771217"/>
              <a:gd name="connsiteY25" fmla="*/ 46662 h 152095"/>
              <a:gd name="connsiteX26" fmla="*/ 676473 w 771217"/>
              <a:gd name="connsiteY26" fmla="*/ 46598 h 152095"/>
              <a:gd name="connsiteX27" fmla="*/ 476154 w 771217"/>
              <a:gd name="connsiteY27" fmla="*/ 46290 h 152095"/>
              <a:gd name="connsiteX28" fmla="*/ 476185 w 771217"/>
              <a:gd name="connsiteY28" fmla="*/ 46290 h 152095"/>
              <a:gd name="connsiteX29" fmla="*/ 481740 w 771217"/>
              <a:gd name="connsiteY29" fmla="*/ 46290 h 152095"/>
              <a:gd name="connsiteX30" fmla="*/ 482975 w 771217"/>
              <a:gd name="connsiteY30" fmla="*/ 47520 h 152095"/>
              <a:gd name="connsiteX31" fmla="*/ 482975 w 771217"/>
              <a:gd name="connsiteY31" fmla="*/ 107650 h 152095"/>
              <a:gd name="connsiteX32" fmla="*/ 504732 w 771217"/>
              <a:gd name="connsiteY32" fmla="*/ 132256 h 152095"/>
              <a:gd name="connsiteX33" fmla="*/ 526489 w 771217"/>
              <a:gd name="connsiteY33" fmla="*/ 107650 h 152095"/>
              <a:gd name="connsiteX34" fmla="*/ 526489 w 771217"/>
              <a:gd name="connsiteY34" fmla="*/ 69665 h 152095"/>
              <a:gd name="connsiteX35" fmla="*/ 549912 w 771217"/>
              <a:gd name="connsiteY35" fmla="*/ 46290 h 152095"/>
              <a:gd name="connsiteX36" fmla="*/ 549943 w 771217"/>
              <a:gd name="connsiteY36" fmla="*/ 46290 h 152095"/>
              <a:gd name="connsiteX37" fmla="*/ 555498 w 771217"/>
              <a:gd name="connsiteY37" fmla="*/ 46290 h 152095"/>
              <a:gd name="connsiteX38" fmla="*/ 556887 w 771217"/>
              <a:gd name="connsiteY38" fmla="*/ 47366 h 152095"/>
              <a:gd name="connsiteX39" fmla="*/ 556887 w 771217"/>
              <a:gd name="connsiteY39" fmla="*/ 105190 h 152095"/>
              <a:gd name="connsiteX40" fmla="*/ 504886 w 771217"/>
              <a:gd name="connsiteY40" fmla="*/ 152095 h 152095"/>
              <a:gd name="connsiteX41" fmla="*/ 452731 w 771217"/>
              <a:gd name="connsiteY41" fmla="*/ 105344 h 152095"/>
              <a:gd name="connsiteX42" fmla="*/ 452731 w 771217"/>
              <a:gd name="connsiteY42" fmla="*/ 69665 h 152095"/>
              <a:gd name="connsiteX43" fmla="*/ 476154 w 771217"/>
              <a:gd name="connsiteY43" fmla="*/ 46290 h 152095"/>
              <a:gd name="connsiteX44" fmla="*/ 330522 w 771217"/>
              <a:gd name="connsiteY44" fmla="*/ 43829 h 152095"/>
              <a:gd name="connsiteX45" fmla="*/ 353822 w 771217"/>
              <a:gd name="connsiteY45" fmla="*/ 64283 h 152095"/>
              <a:gd name="connsiteX46" fmla="*/ 331139 w 771217"/>
              <a:gd name="connsiteY46" fmla="*/ 64129 h 152095"/>
              <a:gd name="connsiteX47" fmla="*/ 309382 w 771217"/>
              <a:gd name="connsiteY47" fmla="*/ 90580 h 152095"/>
              <a:gd name="connsiteX48" fmla="*/ 309382 w 771217"/>
              <a:gd name="connsiteY48" fmla="*/ 147481 h 152095"/>
              <a:gd name="connsiteX49" fmla="*/ 308179 w 771217"/>
              <a:gd name="connsiteY49" fmla="*/ 148711 h 152095"/>
              <a:gd name="connsiteX50" fmla="*/ 308148 w 771217"/>
              <a:gd name="connsiteY50" fmla="*/ 148711 h 152095"/>
              <a:gd name="connsiteX51" fmla="*/ 301821 w 771217"/>
              <a:gd name="connsiteY51" fmla="*/ 148711 h 152095"/>
              <a:gd name="connsiteX52" fmla="*/ 278367 w 771217"/>
              <a:gd name="connsiteY52" fmla="*/ 125366 h 152095"/>
              <a:gd name="connsiteX53" fmla="*/ 278367 w 771217"/>
              <a:gd name="connsiteY53" fmla="*/ 125336 h 152095"/>
              <a:gd name="connsiteX54" fmla="*/ 278367 w 771217"/>
              <a:gd name="connsiteY54" fmla="*/ 47674 h 152095"/>
              <a:gd name="connsiteX55" fmla="*/ 279601 w 771217"/>
              <a:gd name="connsiteY55" fmla="*/ 46443 h 152095"/>
              <a:gd name="connsiteX56" fmla="*/ 285928 w 771217"/>
              <a:gd name="connsiteY56" fmla="*/ 46443 h 152095"/>
              <a:gd name="connsiteX57" fmla="*/ 304907 w 771217"/>
              <a:gd name="connsiteY57" fmla="*/ 56132 h 152095"/>
              <a:gd name="connsiteX58" fmla="*/ 330522 w 771217"/>
              <a:gd name="connsiteY58" fmla="*/ 43829 h 152095"/>
              <a:gd name="connsiteX59" fmla="*/ 636817 w 771217"/>
              <a:gd name="connsiteY59" fmla="*/ 43676 h 152095"/>
              <a:gd name="connsiteX60" fmla="*/ 661043 w 771217"/>
              <a:gd name="connsiteY60" fmla="*/ 64130 h 152095"/>
              <a:gd name="connsiteX61" fmla="*/ 637434 w 771217"/>
              <a:gd name="connsiteY61" fmla="*/ 64130 h 152095"/>
              <a:gd name="connsiteX62" fmla="*/ 615677 w 771217"/>
              <a:gd name="connsiteY62" fmla="*/ 90581 h 152095"/>
              <a:gd name="connsiteX63" fmla="*/ 615677 w 771217"/>
              <a:gd name="connsiteY63" fmla="*/ 147481 h 152095"/>
              <a:gd name="connsiteX64" fmla="*/ 614473 w 771217"/>
              <a:gd name="connsiteY64" fmla="*/ 148712 h 152095"/>
              <a:gd name="connsiteX65" fmla="*/ 614443 w 771217"/>
              <a:gd name="connsiteY65" fmla="*/ 148712 h 152095"/>
              <a:gd name="connsiteX66" fmla="*/ 608270 w 771217"/>
              <a:gd name="connsiteY66" fmla="*/ 148712 h 152095"/>
              <a:gd name="connsiteX67" fmla="*/ 584816 w 771217"/>
              <a:gd name="connsiteY67" fmla="*/ 125367 h 152095"/>
              <a:gd name="connsiteX68" fmla="*/ 584816 w 771217"/>
              <a:gd name="connsiteY68" fmla="*/ 125336 h 152095"/>
              <a:gd name="connsiteX69" fmla="*/ 584816 w 771217"/>
              <a:gd name="connsiteY69" fmla="*/ 47674 h 152095"/>
              <a:gd name="connsiteX70" fmla="*/ 586050 w 771217"/>
              <a:gd name="connsiteY70" fmla="*/ 46444 h 152095"/>
              <a:gd name="connsiteX71" fmla="*/ 592377 w 771217"/>
              <a:gd name="connsiteY71" fmla="*/ 46444 h 152095"/>
              <a:gd name="connsiteX72" fmla="*/ 611202 w 771217"/>
              <a:gd name="connsiteY72" fmla="*/ 55979 h 152095"/>
              <a:gd name="connsiteX73" fmla="*/ 636817 w 771217"/>
              <a:gd name="connsiteY73" fmla="*/ 43676 h 152095"/>
              <a:gd name="connsiteX74" fmla="*/ 199054 w 771217"/>
              <a:gd name="connsiteY74" fmla="*/ 43061 h 152095"/>
              <a:gd name="connsiteX75" fmla="*/ 257227 w 771217"/>
              <a:gd name="connsiteY75" fmla="*/ 97501 h 152095"/>
              <a:gd name="connsiteX76" fmla="*/ 199054 w 771217"/>
              <a:gd name="connsiteY76" fmla="*/ 151941 h 152095"/>
              <a:gd name="connsiteX77" fmla="*/ 141190 w 771217"/>
              <a:gd name="connsiteY77" fmla="*/ 97655 h 152095"/>
              <a:gd name="connsiteX78" fmla="*/ 199054 w 771217"/>
              <a:gd name="connsiteY78" fmla="*/ 43061 h 152095"/>
              <a:gd name="connsiteX79" fmla="*/ 1203 w 771217"/>
              <a:gd name="connsiteY79" fmla="*/ 14764 h 152095"/>
              <a:gd name="connsiteX80" fmla="*/ 1235 w 771217"/>
              <a:gd name="connsiteY80" fmla="*/ 14764 h 152095"/>
              <a:gd name="connsiteX81" fmla="*/ 42125 w 771217"/>
              <a:gd name="connsiteY81" fmla="*/ 14764 h 152095"/>
              <a:gd name="connsiteX82" fmla="*/ 120667 w 771217"/>
              <a:gd name="connsiteY82" fmla="*/ 93809 h 152095"/>
              <a:gd name="connsiteX83" fmla="*/ 120667 w 771217"/>
              <a:gd name="connsiteY83" fmla="*/ 125336 h 152095"/>
              <a:gd name="connsiteX84" fmla="*/ 97490 w 771217"/>
              <a:gd name="connsiteY84" fmla="*/ 148711 h 152095"/>
              <a:gd name="connsiteX85" fmla="*/ 97367 w 771217"/>
              <a:gd name="connsiteY85" fmla="*/ 148711 h 152095"/>
              <a:gd name="connsiteX86" fmla="*/ 97058 w 771217"/>
              <a:gd name="connsiteY86" fmla="*/ 148711 h 152095"/>
              <a:gd name="connsiteX87" fmla="*/ 89497 w 771217"/>
              <a:gd name="connsiteY87" fmla="*/ 148711 h 152095"/>
              <a:gd name="connsiteX88" fmla="*/ 88263 w 771217"/>
              <a:gd name="connsiteY88" fmla="*/ 147512 h 152095"/>
              <a:gd name="connsiteX89" fmla="*/ 88263 w 771217"/>
              <a:gd name="connsiteY89" fmla="*/ 147481 h 152095"/>
              <a:gd name="connsiteX90" fmla="*/ 88263 w 771217"/>
              <a:gd name="connsiteY90" fmla="*/ 88888 h 152095"/>
              <a:gd name="connsiteX91" fmla="*/ 32250 w 771217"/>
              <a:gd name="connsiteY91" fmla="*/ 34294 h 152095"/>
              <a:gd name="connsiteX92" fmla="*/ 32250 w 771217"/>
              <a:gd name="connsiteY92" fmla="*/ 125182 h 152095"/>
              <a:gd name="connsiteX93" fmla="*/ 8826 w 771217"/>
              <a:gd name="connsiteY93" fmla="*/ 148557 h 152095"/>
              <a:gd name="connsiteX94" fmla="*/ 8795 w 771217"/>
              <a:gd name="connsiteY94" fmla="*/ 148557 h 152095"/>
              <a:gd name="connsiteX95" fmla="*/ 1235 w 771217"/>
              <a:gd name="connsiteY95" fmla="*/ 148557 h 152095"/>
              <a:gd name="connsiteX96" fmla="*/ 0 w 771217"/>
              <a:gd name="connsiteY96" fmla="*/ 147358 h 152095"/>
              <a:gd name="connsiteX97" fmla="*/ 0 w 771217"/>
              <a:gd name="connsiteY97" fmla="*/ 147327 h 152095"/>
              <a:gd name="connsiteX98" fmla="*/ 0 w 771217"/>
              <a:gd name="connsiteY98" fmla="*/ 15994 h 152095"/>
              <a:gd name="connsiteX99" fmla="*/ 1203 w 771217"/>
              <a:gd name="connsiteY99" fmla="*/ 14764 h 152095"/>
              <a:gd name="connsiteX100" fmla="*/ 411347 w 771217"/>
              <a:gd name="connsiteY100" fmla="*/ 0 h 152095"/>
              <a:gd name="connsiteX101" fmla="*/ 411378 w 771217"/>
              <a:gd name="connsiteY101" fmla="*/ 0 h 152095"/>
              <a:gd name="connsiteX102" fmla="*/ 417704 w 771217"/>
              <a:gd name="connsiteY102" fmla="*/ 0 h 152095"/>
              <a:gd name="connsiteX103" fmla="*/ 418939 w 771217"/>
              <a:gd name="connsiteY103" fmla="*/ 1230 h 152095"/>
              <a:gd name="connsiteX104" fmla="*/ 418939 w 771217"/>
              <a:gd name="connsiteY104" fmla="*/ 46290 h 152095"/>
              <a:gd name="connsiteX105" fmla="*/ 442702 w 771217"/>
              <a:gd name="connsiteY105" fmla="*/ 46290 h 152095"/>
              <a:gd name="connsiteX106" fmla="*/ 422796 w 771217"/>
              <a:gd name="connsiteY106" fmla="*/ 64282 h 152095"/>
              <a:gd name="connsiteX107" fmla="*/ 418784 w 771217"/>
              <a:gd name="connsiteY107" fmla="*/ 64282 h 152095"/>
              <a:gd name="connsiteX108" fmla="*/ 418784 w 771217"/>
              <a:gd name="connsiteY108" fmla="*/ 125335 h 152095"/>
              <a:gd name="connsiteX109" fmla="*/ 395361 w 771217"/>
              <a:gd name="connsiteY109" fmla="*/ 148711 h 152095"/>
              <a:gd name="connsiteX110" fmla="*/ 395330 w 771217"/>
              <a:gd name="connsiteY110" fmla="*/ 148711 h 152095"/>
              <a:gd name="connsiteX111" fmla="*/ 389158 w 771217"/>
              <a:gd name="connsiteY111" fmla="*/ 148711 h 152095"/>
              <a:gd name="connsiteX112" fmla="*/ 387923 w 771217"/>
              <a:gd name="connsiteY112" fmla="*/ 147512 h 152095"/>
              <a:gd name="connsiteX113" fmla="*/ 387923 w 771217"/>
              <a:gd name="connsiteY113" fmla="*/ 147481 h 152095"/>
              <a:gd name="connsiteX114" fmla="*/ 387923 w 771217"/>
              <a:gd name="connsiteY114" fmla="*/ 64282 h 152095"/>
              <a:gd name="connsiteX115" fmla="*/ 364006 w 771217"/>
              <a:gd name="connsiteY115" fmla="*/ 64282 h 152095"/>
              <a:gd name="connsiteX116" fmla="*/ 383911 w 771217"/>
              <a:gd name="connsiteY116" fmla="*/ 46443 h 152095"/>
              <a:gd name="connsiteX117" fmla="*/ 387923 w 771217"/>
              <a:gd name="connsiteY117" fmla="*/ 46443 h 152095"/>
              <a:gd name="connsiteX118" fmla="*/ 387923 w 771217"/>
              <a:gd name="connsiteY118" fmla="*/ 23375 h 152095"/>
              <a:gd name="connsiteX119" fmla="*/ 411347 w 771217"/>
              <a:gd name="connsiteY119" fmla="*/ 0 h 152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771217" h="152095">
                <a:moveTo>
                  <a:pt x="199054" y="61515"/>
                </a:moveTo>
                <a:cubicBezTo>
                  <a:pt x="185013" y="61515"/>
                  <a:pt x="173594" y="77663"/>
                  <a:pt x="173594" y="97655"/>
                </a:cubicBezTo>
                <a:cubicBezTo>
                  <a:pt x="173594" y="117647"/>
                  <a:pt x="185013" y="133795"/>
                  <a:pt x="199054" y="133795"/>
                </a:cubicBezTo>
                <a:cubicBezTo>
                  <a:pt x="213096" y="133795"/>
                  <a:pt x="224669" y="117647"/>
                  <a:pt x="224669" y="97655"/>
                </a:cubicBezTo>
                <a:cubicBezTo>
                  <a:pt x="224669" y="77663"/>
                  <a:pt x="213250" y="61515"/>
                  <a:pt x="199054" y="61515"/>
                </a:cubicBezTo>
                <a:close/>
                <a:moveTo>
                  <a:pt x="676473" y="46290"/>
                </a:moveTo>
                <a:lnTo>
                  <a:pt x="709032" y="46290"/>
                </a:lnTo>
                <a:cubicBezTo>
                  <a:pt x="752546" y="46290"/>
                  <a:pt x="771217" y="68128"/>
                  <a:pt x="771217" y="103345"/>
                </a:cubicBezTo>
                <a:lnTo>
                  <a:pt x="771217" y="147327"/>
                </a:lnTo>
                <a:cubicBezTo>
                  <a:pt x="771062" y="148096"/>
                  <a:pt x="770599" y="148711"/>
                  <a:pt x="769828" y="148711"/>
                </a:cubicBezTo>
                <a:lnTo>
                  <a:pt x="703477" y="148711"/>
                </a:lnTo>
                <a:cubicBezTo>
                  <a:pt x="681257" y="148711"/>
                  <a:pt x="664129" y="134563"/>
                  <a:pt x="664129" y="117185"/>
                </a:cubicBezTo>
                <a:cubicBezTo>
                  <a:pt x="664129" y="99807"/>
                  <a:pt x="681565" y="85813"/>
                  <a:pt x="705328" y="85813"/>
                </a:cubicBezTo>
                <a:lnTo>
                  <a:pt x="707952" y="85813"/>
                </a:lnTo>
                <a:cubicBezTo>
                  <a:pt x="718063" y="85552"/>
                  <a:pt x="726513" y="93426"/>
                  <a:pt x="726931" y="103498"/>
                </a:cubicBezTo>
                <a:lnTo>
                  <a:pt x="726931" y="104729"/>
                </a:lnTo>
                <a:lnTo>
                  <a:pt x="708415" y="104729"/>
                </a:lnTo>
                <a:cubicBezTo>
                  <a:pt x="701599" y="104557"/>
                  <a:pt x="695934" y="109924"/>
                  <a:pt x="695762" y="116716"/>
                </a:cubicBezTo>
                <a:cubicBezTo>
                  <a:pt x="695762" y="116719"/>
                  <a:pt x="695762" y="116721"/>
                  <a:pt x="695762" y="116724"/>
                </a:cubicBezTo>
                <a:lnTo>
                  <a:pt x="695762" y="117185"/>
                </a:lnTo>
                <a:cubicBezTo>
                  <a:pt x="695795" y="124136"/>
                  <a:pt x="701440" y="129762"/>
                  <a:pt x="708415" y="129796"/>
                </a:cubicBezTo>
                <a:lnTo>
                  <a:pt x="740664" y="129796"/>
                </a:lnTo>
                <a:lnTo>
                  <a:pt x="740664" y="99346"/>
                </a:lnTo>
                <a:cubicBezTo>
                  <a:pt x="740664" y="78585"/>
                  <a:pt x="729246" y="65821"/>
                  <a:pt x="707026" y="65821"/>
                </a:cubicBezTo>
                <a:lnTo>
                  <a:pt x="696224" y="65821"/>
                </a:lnTo>
                <a:cubicBezTo>
                  <a:pt x="685462" y="65966"/>
                  <a:pt x="676620" y="57388"/>
                  <a:pt x="676475" y="46662"/>
                </a:cubicBezTo>
                <a:cubicBezTo>
                  <a:pt x="676473" y="46640"/>
                  <a:pt x="676473" y="46619"/>
                  <a:pt x="676473" y="46598"/>
                </a:cubicBezTo>
                <a:close/>
                <a:moveTo>
                  <a:pt x="476154" y="46290"/>
                </a:moveTo>
                <a:cubicBezTo>
                  <a:pt x="476165" y="46290"/>
                  <a:pt x="476175" y="46290"/>
                  <a:pt x="476185" y="46290"/>
                </a:cubicBezTo>
                <a:lnTo>
                  <a:pt x="481740" y="46290"/>
                </a:lnTo>
                <a:cubicBezTo>
                  <a:pt x="482402" y="46334"/>
                  <a:pt x="482930" y="46860"/>
                  <a:pt x="482975" y="47520"/>
                </a:cubicBezTo>
                <a:lnTo>
                  <a:pt x="482975" y="107650"/>
                </a:lnTo>
                <a:cubicBezTo>
                  <a:pt x="482975" y="121645"/>
                  <a:pt x="492696" y="132256"/>
                  <a:pt x="504732" y="132256"/>
                </a:cubicBezTo>
                <a:cubicBezTo>
                  <a:pt x="516768" y="132256"/>
                  <a:pt x="526489" y="121491"/>
                  <a:pt x="526489" y="107650"/>
                </a:cubicBezTo>
                <a:lnTo>
                  <a:pt x="526489" y="69665"/>
                </a:lnTo>
                <a:cubicBezTo>
                  <a:pt x="526480" y="56764"/>
                  <a:pt x="536968" y="46298"/>
                  <a:pt x="549912" y="46290"/>
                </a:cubicBezTo>
                <a:cubicBezTo>
                  <a:pt x="549923" y="46290"/>
                  <a:pt x="549932" y="46290"/>
                  <a:pt x="549943" y="46290"/>
                </a:cubicBezTo>
                <a:lnTo>
                  <a:pt x="555498" y="46290"/>
                </a:lnTo>
                <a:cubicBezTo>
                  <a:pt x="556115" y="46136"/>
                  <a:pt x="556733" y="46751"/>
                  <a:pt x="556887" y="47366"/>
                </a:cubicBezTo>
                <a:lnTo>
                  <a:pt x="556887" y="105190"/>
                </a:lnTo>
                <a:cubicBezTo>
                  <a:pt x="557041" y="131795"/>
                  <a:pt x="533741" y="152095"/>
                  <a:pt x="504886" y="152095"/>
                </a:cubicBezTo>
                <a:cubicBezTo>
                  <a:pt x="476031" y="152095"/>
                  <a:pt x="452731" y="131641"/>
                  <a:pt x="452731" y="105344"/>
                </a:cubicBezTo>
                <a:lnTo>
                  <a:pt x="452731" y="69665"/>
                </a:lnTo>
                <a:cubicBezTo>
                  <a:pt x="452722" y="56764"/>
                  <a:pt x="463210" y="46298"/>
                  <a:pt x="476154" y="46290"/>
                </a:cubicBezTo>
                <a:close/>
                <a:moveTo>
                  <a:pt x="330522" y="43829"/>
                </a:moveTo>
                <a:cubicBezTo>
                  <a:pt x="347804" y="43829"/>
                  <a:pt x="353822" y="53210"/>
                  <a:pt x="353822" y="64283"/>
                </a:cubicBezTo>
                <a:lnTo>
                  <a:pt x="331139" y="64129"/>
                </a:lnTo>
                <a:cubicBezTo>
                  <a:pt x="313857" y="64129"/>
                  <a:pt x="309382" y="71664"/>
                  <a:pt x="309382" y="90580"/>
                </a:cubicBezTo>
                <a:lnTo>
                  <a:pt x="309382" y="147481"/>
                </a:lnTo>
                <a:cubicBezTo>
                  <a:pt x="309392" y="148152"/>
                  <a:pt x="308852" y="148702"/>
                  <a:pt x="308179" y="148711"/>
                </a:cubicBezTo>
                <a:cubicBezTo>
                  <a:pt x="308168" y="148711"/>
                  <a:pt x="308159" y="148711"/>
                  <a:pt x="308148" y="148711"/>
                </a:cubicBezTo>
                <a:lnTo>
                  <a:pt x="301821" y="148711"/>
                </a:lnTo>
                <a:cubicBezTo>
                  <a:pt x="288877" y="148719"/>
                  <a:pt x="278376" y="138268"/>
                  <a:pt x="278367" y="125366"/>
                </a:cubicBezTo>
                <a:cubicBezTo>
                  <a:pt x="278367" y="125356"/>
                  <a:pt x="278367" y="125346"/>
                  <a:pt x="278367" y="125336"/>
                </a:cubicBezTo>
                <a:lnTo>
                  <a:pt x="278367" y="47674"/>
                </a:lnTo>
                <a:cubicBezTo>
                  <a:pt x="278412" y="47014"/>
                  <a:pt x="278939" y="46488"/>
                  <a:pt x="279601" y="46443"/>
                </a:cubicBezTo>
                <a:lnTo>
                  <a:pt x="285928" y="46443"/>
                </a:lnTo>
                <a:cubicBezTo>
                  <a:pt x="293455" y="46421"/>
                  <a:pt x="300527" y="50031"/>
                  <a:pt x="304907" y="56132"/>
                </a:cubicBezTo>
                <a:cubicBezTo>
                  <a:pt x="311388" y="47827"/>
                  <a:pt x="316326" y="43829"/>
                  <a:pt x="330522" y="43829"/>
                </a:cubicBezTo>
                <a:close/>
                <a:moveTo>
                  <a:pt x="636817" y="43676"/>
                </a:moveTo>
                <a:cubicBezTo>
                  <a:pt x="654099" y="43676"/>
                  <a:pt x="661043" y="53057"/>
                  <a:pt x="661043" y="64130"/>
                </a:cubicBezTo>
                <a:lnTo>
                  <a:pt x="637434" y="64130"/>
                </a:lnTo>
                <a:cubicBezTo>
                  <a:pt x="620306" y="64130"/>
                  <a:pt x="615677" y="71665"/>
                  <a:pt x="615677" y="90581"/>
                </a:cubicBezTo>
                <a:lnTo>
                  <a:pt x="615677" y="147481"/>
                </a:lnTo>
                <a:cubicBezTo>
                  <a:pt x="615686" y="148152"/>
                  <a:pt x="615146" y="148703"/>
                  <a:pt x="614473" y="148712"/>
                </a:cubicBezTo>
                <a:cubicBezTo>
                  <a:pt x="614463" y="148712"/>
                  <a:pt x="614453" y="148712"/>
                  <a:pt x="614443" y="148712"/>
                </a:cubicBezTo>
                <a:lnTo>
                  <a:pt x="608270" y="148712"/>
                </a:lnTo>
                <a:cubicBezTo>
                  <a:pt x="595326" y="148720"/>
                  <a:pt x="584825" y="138268"/>
                  <a:pt x="584816" y="125367"/>
                </a:cubicBezTo>
                <a:cubicBezTo>
                  <a:pt x="584816" y="125357"/>
                  <a:pt x="584816" y="125347"/>
                  <a:pt x="584816" y="125336"/>
                </a:cubicBezTo>
                <a:lnTo>
                  <a:pt x="584816" y="47674"/>
                </a:lnTo>
                <a:cubicBezTo>
                  <a:pt x="584861" y="47014"/>
                  <a:pt x="585388" y="46489"/>
                  <a:pt x="586050" y="46444"/>
                </a:cubicBezTo>
                <a:lnTo>
                  <a:pt x="592377" y="46444"/>
                </a:lnTo>
                <a:cubicBezTo>
                  <a:pt x="599805" y="46502"/>
                  <a:pt x="606777" y="50033"/>
                  <a:pt x="611202" y="55979"/>
                </a:cubicBezTo>
                <a:cubicBezTo>
                  <a:pt x="617683" y="47674"/>
                  <a:pt x="622621" y="43676"/>
                  <a:pt x="636817" y="43676"/>
                </a:cubicBezTo>
                <a:close/>
                <a:moveTo>
                  <a:pt x="199054" y="43061"/>
                </a:moveTo>
                <a:cubicBezTo>
                  <a:pt x="231613" y="43061"/>
                  <a:pt x="257227" y="67667"/>
                  <a:pt x="257227" y="97501"/>
                </a:cubicBezTo>
                <a:cubicBezTo>
                  <a:pt x="257227" y="127336"/>
                  <a:pt x="231767" y="151941"/>
                  <a:pt x="199054" y="151941"/>
                </a:cubicBezTo>
                <a:cubicBezTo>
                  <a:pt x="166496" y="151941"/>
                  <a:pt x="141190" y="127643"/>
                  <a:pt x="141190" y="97655"/>
                </a:cubicBezTo>
                <a:cubicBezTo>
                  <a:pt x="141190" y="67667"/>
                  <a:pt x="166496" y="43061"/>
                  <a:pt x="199054" y="43061"/>
                </a:cubicBezTo>
                <a:close/>
                <a:moveTo>
                  <a:pt x="1203" y="14764"/>
                </a:moveTo>
                <a:cubicBezTo>
                  <a:pt x="1214" y="14763"/>
                  <a:pt x="1224" y="14763"/>
                  <a:pt x="1235" y="14764"/>
                </a:cubicBezTo>
                <a:lnTo>
                  <a:pt x="42125" y="14764"/>
                </a:lnTo>
                <a:cubicBezTo>
                  <a:pt x="87645" y="14610"/>
                  <a:pt x="120667" y="47674"/>
                  <a:pt x="120667" y="93809"/>
                </a:cubicBezTo>
                <a:lnTo>
                  <a:pt x="120667" y="125336"/>
                </a:lnTo>
                <a:cubicBezTo>
                  <a:pt x="120743" y="138169"/>
                  <a:pt x="110367" y="148634"/>
                  <a:pt x="97490" y="148711"/>
                </a:cubicBezTo>
                <a:cubicBezTo>
                  <a:pt x="97449" y="148711"/>
                  <a:pt x="97408" y="148711"/>
                  <a:pt x="97367" y="148711"/>
                </a:cubicBezTo>
                <a:lnTo>
                  <a:pt x="97058" y="148711"/>
                </a:lnTo>
                <a:lnTo>
                  <a:pt x="89497" y="148711"/>
                </a:lnTo>
                <a:cubicBezTo>
                  <a:pt x="88824" y="148720"/>
                  <a:pt x="88271" y="148183"/>
                  <a:pt x="88263" y="147512"/>
                </a:cubicBezTo>
                <a:cubicBezTo>
                  <a:pt x="88262" y="147501"/>
                  <a:pt x="88262" y="147491"/>
                  <a:pt x="88263" y="147481"/>
                </a:cubicBezTo>
                <a:lnTo>
                  <a:pt x="88263" y="88888"/>
                </a:lnTo>
                <a:cubicBezTo>
                  <a:pt x="88263" y="56901"/>
                  <a:pt x="68666" y="34294"/>
                  <a:pt x="32250" y="34294"/>
                </a:cubicBezTo>
                <a:lnTo>
                  <a:pt x="32250" y="125182"/>
                </a:lnTo>
                <a:cubicBezTo>
                  <a:pt x="32258" y="138083"/>
                  <a:pt x="21771" y="148549"/>
                  <a:pt x="8826" y="148557"/>
                </a:cubicBezTo>
                <a:cubicBezTo>
                  <a:pt x="8816" y="148557"/>
                  <a:pt x="8806" y="148557"/>
                  <a:pt x="8795" y="148557"/>
                </a:cubicBezTo>
                <a:lnTo>
                  <a:pt x="1235" y="148557"/>
                </a:lnTo>
                <a:cubicBezTo>
                  <a:pt x="561" y="148566"/>
                  <a:pt x="9" y="148029"/>
                  <a:pt x="0" y="147358"/>
                </a:cubicBezTo>
                <a:cubicBezTo>
                  <a:pt x="0" y="147348"/>
                  <a:pt x="0" y="147337"/>
                  <a:pt x="0" y="147327"/>
                </a:cubicBezTo>
                <a:lnTo>
                  <a:pt x="0" y="15994"/>
                </a:lnTo>
                <a:cubicBezTo>
                  <a:pt x="-8" y="15323"/>
                  <a:pt x="530" y="14772"/>
                  <a:pt x="1203" y="14764"/>
                </a:cubicBezTo>
                <a:close/>
                <a:moveTo>
                  <a:pt x="411347" y="0"/>
                </a:moveTo>
                <a:cubicBezTo>
                  <a:pt x="411358" y="0"/>
                  <a:pt x="411367" y="0"/>
                  <a:pt x="411378" y="0"/>
                </a:cubicBezTo>
                <a:lnTo>
                  <a:pt x="417704" y="0"/>
                </a:lnTo>
                <a:cubicBezTo>
                  <a:pt x="418366" y="45"/>
                  <a:pt x="418894" y="570"/>
                  <a:pt x="418939" y="1230"/>
                </a:cubicBezTo>
                <a:lnTo>
                  <a:pt x="418939" y="46290"/>
                </a:lnTo>
                <a:lnTo>
                  <a:pt x="442702" y="46290"/>
                </a:lnTo>
                <a:cubicBezTo>
                  <a:pt x="442702" y="57362"/>
                  <a:pt x="433752" y="64282"/>
                  <a:pt x="422796" y="64282"/>
                </a:cubicBezTo>
                <a:lnTo>
                  <a:pt x="418784" y="64282"/>
                </a:lnTo>
                <a:lnTo>
                  <a:pt x="418784" y="125335"/>
                </a:lnTo>
                <a:cubicBezTo>
                  <a:pt x="418794" y="138237"/>
                  <a:pt x="408305" y="148702"/>
                  <a:pt x="395361" y="148711"/>
                </a:cubicBezTo>
                <a:cubicBezTo>
                  <a:pt x="395350" y="148711"/>
                  <a:pt x="395341" y="148711"/>
                  <a:pt x="395330" y="148711"/>
                </a:cubicBezTo>
                <a:lnTo>
                  <a:pt x="389158" y="148711"/>
                </a:lnTo>
                <a:cubicBezTo>
                  <a:pt x="388485" y="148720"/>
                  <a:pt x="387933" y="148183"/>
                  <a:pt x="387923" y="147512"/>
                </a:cubicBezTo>
                <a:cubicBezTo>
                  <a:pt x="387923" y="147501"/>
                  <a:pt x="387923" y="147491"/>
                  <a:pt x="387923" y="147481"/>
                </a:cubicBezTo>
                <a:lnTo>
                  <a:pt x="387923" y="64282"/>
                </a:lnTo>
                <a:lnTo>
                  <a:pt x="364006" y="64282"/>
                </a:lnTo>
                <a:cubicBezTo>
                  <a:pt x="364006" y="53364"/>
                  <a:pt x="372801" y="46443"/>
                  <a:pt x="383911" y="46443"/>
                </a:cubicBezTo>
                <a:lnTo>
                  <a:pt x="387923" y="46443"/>
                </a:lnTo>
                <a:lnTo>
                  <a:pt x="387923" y="23375"/>
                </a:lnTo>
                <a:cubicBezTo>
                  <a:pt x="387914" y="10474"/>
                  <a:pt x="398402" y="9"/>
                  <a:pt x="411347" y="0"/>
                </a:cubicBezTo>
                <a:close/>
              </a:path>
            </a:pathLst>
          </a:custGeom>
          <a:solidFill>
            <a:schemeClr val="bg1"/>
          </a:solidFill>
          <a:ln w="1543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840DDE29-DAAB-814C-91C2-2D0B60D1081E}"/>
              </a:ext>
            </a:extLst>
          </p:cNvPr>
          <p:cNvSpPr/>
          <p:nvPr userDrawn="1"/>
        </p:nvSpPr>
        <p:spPr>
          <a:xfrm>
            <a:off x="6096000" y="-1057940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nb-NO" dirty="0">
                <a:solidFill>
                  <a:schemeClr val="bg1">
                    <a:lumMod val="50000"/>
                  </a:schemeClr>
                </a:solidFill>
              </a:rPr>
              <a:t>Kapittelskille </a:t>
            </a:r>
          </a:p>
          <a:p>
            <a:pPr algn="r"/>
            <a:r>
              <a:rPr lang="nb-NO" dirty="0">
                <a:solidFill>
                  <a:schemeClr val="bg1">
                    <a:lumMod val="50000"/>
                  </a:schemeClr>
                </a:solidFill>
              </a:rPr>
              <a:t>Bakgrunnsfargen kan endres.</a:t>
            </a:r>
          </a:p>
        </p:txBody>
      </p:sp>
    </p:spTree>
    <p:extLst>
      <p:ext uri="{BB962C8B-B14F-4D97-AF65-F5344CB8AC3E}">
        <p14:creationId xmlns:p14="http://schemas.microsoft.com/office/powerpoint/2010/main" val="815779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Title placeholder + content placehol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59CEF61-CBF5-B14D-B6B1-3ED73C467E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861CFF6-694D-07DE-927C-F842AE884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9F2D166-D4E6-B927-AA72-5E68877868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70310"/>
            <a:ext cx="8047534" cy="43533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nb-NO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NO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F6A4118-B427-B77D-33A2-7C0B2C9E37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164940" y="6370310"/>
            <a:ext cx="1133783" cy="43533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03E2C60-3577-BA48-B24F-DA747A8A254A}" type="slidenum">
              <a:rPr lang="en-NO" smtClean="0"/>
              <a:pPr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942185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(Origin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18B8E8D-925D-4A4C-AEFF-43C7AB8C35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B40EB47-1D59-DE43-959E-87EA76DCCA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2003092"/>
            <a:ext cx="4681695" cy="4351338"/>
          </a:xfrm>
        </p:spPr>
        <p:txBody>
          <a:bodyPr>
            <a:noAutofit/>
          </a:bodyPr>
          <a:lstStyle>
            <a:lvl1pPr>
              <a:defRPr sz="22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04FD00C-7A92-2D4D-ACCF-4A1A216C75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617028" y="2003092"/>
            <a:ext cx="4681695" cy="4351338"/>
          </a:xfrm>
        </p:spPr>
        <p:txBody>
          <a:bodyPr>
            <a:no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C74A49-651B-2AEB-A357-95EC7EA84E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70310"/>
            <a:ext cx="8047534" cy="43533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nb-NO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D170EB-2FE3-1E82-DACB-912FDB0764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164940" y="6370310"/>
            <a:ext cx="1133783" cy="43533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03E2C60-3577-BA48-B24F-DA747A8A254A}" type="slidenum">
              <a:rPr lang="en-NO" smtClean="0"/>
              <a:pPr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51841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(Origin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74F1938-2373-7A48-AFE3-EDDA3CD69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42480"/>
            <a:ext cx="9408617" cy="1325563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B731D16-3A83-6947-A740-584809A456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963051"/>
            <a:ext cx="4680000" cy="82391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2DACC479-BC31-984A-9926-021EDDE702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997200"/>
            <a:ext cx="4680000" cy="3098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6BB8DAD1-E044-4A4A-8994-CEF55D9A5D7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566166" y="1963050"/>
            <a:ext cx="4680000" cy="823911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A12AD4F4-7E6D-6441-9ABD-55CF6720696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566166" y="2997200"/>
            <a:ext cx="4680000" cy="3098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B588ED-0E4C-35C7-29F4-97F0907DFD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70310"/>
            <a:ext cx="8047534" cy="43533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nb-NO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NO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6873C98-8957-5584-4909-B7A27EBC8B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164940" y="6370310"/>
            <a:ext cx="1133783" cy="43533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03E2C60-3577-BA48-B24F-DA747A8A254A}" type="slidenum">
              <a:rPr lang="en-NO" smtClean="0"/>
              <a:pPr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619602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C827C8-D6FE-554B-B835-C4C3025CB1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55325"/>
            <a:ext cx="5691681" cy="1379592"/>
          </a:xfrm>
        </p:spPr>
        <p:txBody>
          <a:bodyPr anchor="t">
            <a:normAutofit/>
          </a:bodyPr>
          <a:lstStyle>
            <a:lvl1pPr>
              <a:defRPr sz="40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9216F739-0E1E-8C45-B2EF-0A89EBDE3F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753657"/>
            <a:ext cx="5691681" cy="2911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B9F95967-A531-244F-A776-4285E3102B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3184" y="1161263"/>
            <a:ext cx="1995539" cy="496927"/>
          </a:xfrm>
        </p:spPr>
        <p:txBody>
          <a:bodyPr>
            <a:normAutofit/>
          </a:bodyPr>
          <a:lstStyle>
            <a:lvl1pPr>
              <a:buNone/>
              <a:defRPr sz="3600" b="1">
                <a:solidFill>
                  <a:schemeClr val="tx1"/>
                </a:solidFill>
              </a:defRPr>
            </a:lvl1pPr>
            <a:lvl2pPr>
              <a:buNone/>
              <a:defRPr sz="4000" b="1">
                <a:solidFill>
                  <a:schemeClr val="tx1"/>
                </a:solidFill>
              </a:defRPr>
            </a:lvl2pPr>
            <a:lvl3pPr>
              <a:buNone/>
              <a:defRPr sz="4000" b="1">
                <a:solidFill>
                  <a:schemeClr val="tx1"/>
                </a:solidFill>
              </a:defRPr>
            </a:lvl3pPr>
            <a:lvl4pPr>
              <a:buNone/>
              <a:defRPr sz="4000" b="1">
                <a:solidFill>
                  <a:schemeClr val="tx1"/>
                </a:solidFill>
              </a:defRPr>
            </a:lvl4pPr>
            <a:lvl5pPr>
              <a:buNone/>
              <a:defRPr sz="40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nb-NO" dirty="0"/>
              <a:t>000000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4ED29482-E555-5848-9C91-D96E39F80C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03184" y="2787517"/>
            <a:ext cx="1995539" cy="496927"/>
          </a:xfrm>
        </p:spPr>
        <p:txBody>
          <a:bodyPr>
            <a:normAutofit/>
          </a:bodyPr>
          <a:lstStyle>
            <a:lvl1pPr>
              <a:buNone/>
              <a:defRPr sz="3600" b="1">
                <a:solidFill>
                  <a:schemeClr val="tx1"/>
                </a:solidFill>
              </a:defRPr>
            </a:lvl1pPr>
            <a:lvl2pPr>
              <a:buNone/>
              <a:defRPr sz="4000" b="1">
                <a:solidFill>
                  <a:schemeClr val="tx1"/>
                </a:solidFill>
              </a:defRPr>
            </a:lvl2pPr>
            <a:lvl3pPr>
              <a:buNone/>
              <a:defRPr sz="4000" b="1">
                <a:solidFill>
                  <a:schemeClr val="tx1"/>
                </a:solidFill>
              </a:defRPr>
            </a:lvl3pPr>
            <a:lvl4pPr>
              <a:buNone/>
              <a:defRPr sz="4000" b="1">
                <a:solidFill>
                  <a:schemeClr val="tx1"/>
                </a:solidFill>
              </a:defRPr>
            </a:lvl4pPr>
            <a:lvl5pPr>
              <a:buNone/>
              <a:defRPr sz="40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nb-NO" dirty="0"/>
              <a:t>000000</a:t>
            </a:r>
          </a:p>
        </p:txBody>
      </p:sp>
      <p:sp>
        <p:nvSpPr>
          <p:cNvPr id="17" name="Plassholder for tekst 13">
            <a:extLst>
              <a:ext uri="{FF2B5EF4-FFF2-40B4-BE49-F238E27FC236}">
                <a16:creationId xmlns:a16="http://schemas.microsoft.com/office/drawing/2014/main" id="{D22F5C65-B79A-F14F-9560-F7F6D99794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03184" y="4511295"/>
            <a:ext cx="1995539" cy="496927"/>
          </a:xfrm>
        </p:spPr>
        <p:txBody>
          <a:bodyPr>
            <a:normAutofit/>
          </a:bodyPr>
          <a:lstStyle>
            <a:lvl1pPr>
              <a:buNone/>
              <a:defRPr sz="3600" b="1">
                <a:solidFill>
                  <a:schemeClr val="tx1"/>
                </a:solidFill>
              </a:defRPr>
            </a:lvl1pPr>
            <a:lvl2pPr>
              <a:buNone/>
              <a:defRPr sz="4000" b="1">
                <a:solidFill>
                  <a:schemeClr val="tx1"/>
                </a:solidFill>
              </a:defRPr>
            </a:lvl2pPr>
            <a:lvl3pPr>
              <a:buNone/>
              <a:defRPr sz="4000" b="1">
                <a:solidFill>
                  <a:schemeClr val="tx1"/>
                </a:solidFill>
              </a:defRPr>
            </a:lvl3pPr>
            <a:lvl4pPr>
              <a:buNone/>
              <a:defRPr sz="4000" b="1">
                <a:solidFill>
                  <a:schemeClr val="tx1"/>
                </a:solidFill>
              </a:defRPr>
            </a:lvl4pPr>
            <a:lvl5pPr>
              <a:buNone/>
              <a:defRPr sz="40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nb-NO" dirty="0"/>
              <a:t>000000</a:t>
            </a:r>
          </a:p>
        </p:txBody>
      </p:sp>
      <p:sp>
        <p:nvSpPr>
          <p:cNvPr id="18" name="Plassholder for tekst 4">
            <a:extLst>
              <a:ext uri="{FF2B5EF4-FFF2-40B4-BE49-F238E27FC236}">
                <a16:creationId xmlns:a16="http://schemas.microsoft.com/office/drawing/2014/main" id="{D5BEF9BE-498B-0F44-BD13-8023FC1EB6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03184" y="1658190"/>
            <a:ext cx="1995539" cy="665423"/>
          </a:xfrm>
        </p:spPr>
        <p:txBody>
          <a:bodyPr>
            <a:normAutofit/>
          </a:bodyPr>
          <a:lstStyle>
            <a:lvl1pPr marL="9525" indent="-9525" algn="l">
              <a:buNone/>
              <a:tabLst/>
              <a:defRPr sz="1300"/>
            </a:lvl1pPr>
            <a:lvl2pPr>
              <a:buNone/>
              <a:defRPr sz="1400"/>
            </a:lvl2pPr>
            <a:lvl3pPr>
              <a:buNone/>
              <a:defRPr sz="1400"/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Plassholder for tekst 4">
            <a:extLst>
              <a:ext uri="{FF2B5EF4-FFF2-40B4-BE49-F238E27FC236}">
                <a16:creationId xmlns:a16="http://schemas.microsoft.com/office/drawing/2014/main" id="{F976594D-D565-A048-9EBA-523BCA69D5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3184" y="3279867"/>
            <a:ext cx="1995539" cy="636026"/>
          </a:xfrm>
        </p:spPr>
        <p:txBody>
          <a:bodyPr>
            <a:normAutofit/>
          </a:bodyPr>
          <a:lstStyle>
            <a:lvl1pPr marL="9525" indent="-9525" algn="l">
              <a:buNone/>
              <a:tabLst/>
              <a:defRPr sz="1300"/>
            </a:lvl1pPr>
            <a:lvl2pPr>
              <a:buNone/>
              <a:defRPr sz="1400"/>
            </a:lvl2pPr>
            <a:lvl3pPr>
              <a:buNone/>
              <a:defRPr sz="1400"/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4">
            <a:extLst>
              <a:ext uri="{FF2B5EF4-FFF2-40B4-BE49-F238E27FC236}">
                <a16:creationId xmlns:a16="http://schemas.microsoft.com/office/drawing/2014/main" id="{11017775-CAA3-BF42-BB22-EC00F57FAC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3184" y="5031436"/>
            <a:ext cx="1995539" cy="636026"/>
          </a:xfrm>
        </p:spPr>
        <p:txBody>
          <a:bodyPr>
            <a:normAutofit/>
          </a:bodyPr>
          <a:lstStyle>
            <a:lvl1pPr marL="9525" indent="-9525" algn="l">
              <a:buNone/>
              <a:tabLst/>
              <a:defRPr sz="1300"/>
            </a:lvl1pPr>
            <a:lvl2pPr>
              <a:buNone/>
              <a:defRPr sz="1400"/>
            </a:lvl2pPr>
            <a:lvl3pPr>
              <a:buNone/>
              <a:defRPr sz="1400"/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2" name="Plassholder for bilde 21">
            <a:extLst>
              <a:ext uri="{FF2B5EF4-FFF2-40B4-BE49-F238E27FC236}">
                <a16:creationId xmlns:a16="http://schemas.microsoft.com/office/drawing/2014/main" id="{5BA3E90D-A439-634E-BB7B-4A00F753EB9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54651" y="1163638"/>
            <a:ext cx="1387475" cy="1159975"/>
          </a:xfrm>
          <a:noFill/>
        </p:spPr>
        <p:txBody>
          <a:bodyPr rIns="90000" anchor="ctr">
            <a:normAutofit/>
          </a:bodyPr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23" name="Plassholder for bilde 21">
            <a:extLst>
              <a:ext uri="{FF2B5EF4-FFF2-40B4-BE49-F238E27FC236}">
                <a16:creationId xmlns:a16="http://schemas.microsoft.com/office/drawing/2014/main" id="{8120180C-ED7D-504D-B287-06F519F0F71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654651" y="2755918"/>
            <a:ext cx="1387475" cy="1159975"/>
          </a:xfrm>
          <a:noFill/>
        </p:spPr>
        <p:txBody>
          <a:bodyPr rIns="90000" anchor="ctr">
            <a:normAutofit/>
          </a:bodyPr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24" name="Plassholder for bilde 21">
            <a:extLst>
              <a:ext uri="{FF2B5EF4-FFF2-40B4-BE49-F238E27FC236}">
                <a16:creationId xmlns:a16="http://schemas.microsoft.com/office/drawing/2014/main" id="{17919052-E927-AA4A-B954-90F41863344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54651" y="4507487"/>
            <a:ext cx="1387475" cy="1159975"/>
          </a:xfrm>
          <a:noFill/>
        </p:spPr>
        <p:txBody>
          <a:bodyPr rIns="90000" anchor="ctr">
            <a:normAutofit/>
          </a:bodyPr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5F252A-6548-1A1F-18E8-E7632D71809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838200" y="6370310"/>
            <a:ext cx="8047534" cy="43533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nb-NO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6BB39E-E6C5-DAEB-60ED-114DB9C6289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9164940" y="6370310"/>
            <a:ext cx="1133783" cy="43533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03E2C60-3577-BA48-B24F-DA747A8A254A}" type="slidenum">
              <a:rPr lang="en-NO" smtClean="0"/>
              <a:pPr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81541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Title placeholder + subtitle placeholder +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9B23CE6-5E9F-4879-4EBA-576633347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6456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2" progId="TCLayout.ActiveDocument.1">
                  <p:embed/>
                </p:oleObj>
              </mc:Choice>
              <mc:Fallback>
                <p:oleObj name="think-cell Slide" r:id="rId3" imgW="411" imgH="41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B23CE6-5E9F-4879-4EBA-576633347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4FC8AB09-BD5A-E94F-8A35-9B2423CC1D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211613"/>
            <a:ext cx="9460522" cy="762946"/>
          </a:xfrm>
        </p:spPr>
        <p:txBody>
          <a:bodyPr vert="horz" anchor="b">
            <a:noAutofit/>
          </a:bodyPr>
          <a:lstStyle>
            <a:lvl1pPr>
              <a:defRPr sz="2400"/>
            </a:lvl1pPr>
          </a:lstStyle>
          <a:p>
            <a:r>
              <a:rPr lang="nb-NO" dirty="0"/>
              <a:t>Klikk for å redigere lead-i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59CEF61-CBF5-B14D-B6B1-3ED73C467E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2" y="1552240"/>
            <a:ext cx="9460522" cy="474696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2A819C6-FC96-7463-E9EC-4578D4FE0F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70310"/>
            <a:ext cx="8047534" cy="43533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nb-NO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5CB192-AFCE-F0C8-E619-8EA20F69B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4940" y="6370310"/>
            <a:ext cx="1133783" cy="43533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03E2C60-3577-BA48-B24F-DA747A8A254A}" type="slidenum">
              <a:rPr lang="en-NO" smtClean="0"/>
              <a:pPr/>
              <a:t>‹#›</a:t>
            </a:fld>
            <a:endParaRPr lang="en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E9ECCBC-B8E8-1F3B-61ED-C5D4F51FE9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082258"/>
            <a:ext cx="9459913" cy="368300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109280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Title placeholder + content placehol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C755098-0037-2E49-2361-057CAF64E9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500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2" progId="TCLayout.ActiveDocument.1">
                  <p:embed/>
                </p:oleObj>
              </mc:Choice>
              <mc:Fallback>
                <p:oleObj name="think-cell Slide" r:id="rId3" imgW="411" imgH="41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755098-0037-2E49-2361-057CAF64E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4FC8AB09-BD5A-E94F-8A35-9B2423CC1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1139"/>
            <a:ext cx="9475519" cy="763200"/>
          </a:xfrm>
        </p:spPr>
        <p:txBody>
          <a:bodyPr vert="horz" anchor="b">
            <a:noAutofit/>
          </a:bodyPr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59CEF61-CBF5-B14D-B6B1-3ED73C467E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089026"/>
            <a:ext cx="9460522" cy="521017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D8F211-4695-FBBD-38EC-E6840C294C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70310"/>
            <a:ext cx="8047534" cy="43533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nb-NO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3A38AB-86DB-8297-7809-1D2ADCF367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164940" y="6370310"/>
            <a:ext cx="1133783" cy="43533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03E2C60-3577-BA48-B24F-DA747A8A254A}" type="slidenum">
              <a:rPr lang="en-NO" smtClean="0"/>
              <a:pPr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548885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(Origin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D9651A9-BBCB-D145-825C-9BB4793B94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129717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Origin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23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3849BE6-D8B3-BCA4-F84D-7645E0E833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12812" b="2812"/>
          <a:stretch/>
        </p:blipFill>
        <p:spPr>
          <a:xfrm>
            <a:off x="-1" y="-1"/>
            <a:ext cx="12191999" cy="6858001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E1AA005C-32A6-B74E-9B62-2D57828587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701" y="0"/>
            <a:ext cx="12204699" cy="6918960"/>
          </a:xfrm>
          <a:prstGeom prst="rect">
            <a:avLst/>
          </a:prstGeom>
        </p:spPr>
      </p:pic>
      <p:grpSp>
        <p:nvGrpSpPr>
          <p:cNvPr id="4" name="Gruppe 3">
            <a:extLst>
              <a:ext uri="{FF2B5EF4-FFF2-40B4-BE49-F238E27FC236}">
                <a16:creationId xmlns:a16="http://schemas.microsoft.com/office/drawing/2014/main" id="{23806877-49B6-B14F-8887-9324DF1BD479}"/>
              </a:ext>
            </a:extLst>
          </p:cNvPr>
          <p:cNvGrpSpPr/>
          <p:nvPr userDrawn="1"/>
        </p:nvGrpSpPr>
        <p:grpSpPr>
          <a:xfrm>
            <a:off x="1" y="4756778"/>
            <a:ext cx="4344269" cy="2578243"/>
            <a:chOff x="1" y="4756778"/>
            <a:chExt cx="4344269" cy="2578243"/>
          </a:xfrm>
        </p:grpSpPr>
        <p:sp>
          <p:nvSpPr>
            <p:cNvPr id="1035" name="Friform 1034">
              <a:extLst>
                <a:ext uri="{FF2B5EF4-FFF2-40B4-BE49-F238E27FC236}">
                  <a16:creationId xmlns:a16="http://schemas.microsoft.com/office/drawing/2014/main" id="{601C99DD-7E4E-354A-9B67-78D84A6D0426}"/>
                </a:ext>
              </a:extLst>
            </p:cNvPr>
            <p:cNvSpPr/>
            <p:nvPr userDrawn="1"/>
          </p:nvSpPr>
          <p:spPr>
            <a:xfrm>
              <a:off x="1" y="4993574"/>
              <a:ext cx="4344269" cy="1864426"/>
            </a:xfrm>
            <a:custGeom>
              <a:avLst/>
              <a:gdLst>
                <a:gd name="connsiteX0" fmla="*/ 1534229 w 4344269"/>
                <a:gd name="connsiteY0" fmla="*/ 0 h 1864426"/>
                <a:gd name="connsiteX1" fmla="*/ 3900832 w 4344269"/>
                <a:gd name="connsiteY1" fmla="*/ 993186 h 1864426"/>
                <a:gd name="connsiteX2" fmla="*/ 4342982 w 4344269"/>
                <a:gd name="connsiteY2" fmla="*/ 1827795 h 1864426"/>
                <a:gd name="connsiteX3" fmla="*/ 4344269 w 4344269"/>
                <a:gd name="connsiteY3" fmla="*/ 1864426 h 1864426"/>
                <a:gd name="connsiteX4" fmla="*/ 0 w 4344269"/>
                <a:gd name="connsiteY4" fmla="*/ 1864426 h 1864426"/>
                <a:gd name="connsiteX5" fmla="*/ 0 w 4344269"/>
                <a:gd name="connsiteY5" fmla="*/ 757992 h 1864426"/>
                <a:gd name="connsiteX6" fmla="*/ 44335 w 4344269"/>
                <a:gd name="connsiteY6" fmla="*/ 692672 h 1864426"/>
                <a:gd name="connsiteX7" fmla="*/ 643341 w 4344269"/>
                <a:gd name="connsiteY7" fmla="*/ 198637 h 1864426"/>
                <a:gd name="connsiteX8" fmla="*/ 1534229 w 4344269"/>
                <a:gd name="connsiteY8" fmla="*/ 0 h 1864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44269" h="1864426">
                  <a:moveTo>
                    <a:pt x="1534229" y="0"/>
                  </a:moveTo>
                  <a:cubicBezTo>
                    <a:pt x="2348791" y="0"/>
                    <a:pt x="3241791" y="411031"/>
                    <a:pt x="3900832" y="993186"/>
                  </a:cubicBezTo>
                  <a:cubicBezTo>
                    <a:pt x="4172353" y="1233206"/>
                    <a:pt x="4307792" y="1521978"/>
                    <a:pt x="4342982" y="1827795"/>
                  </a:cubicBezTo>
                  <a:lnTo>
                    <a:pt x="4344269" y="1864426"/>
                  </a:lnTo>
                  <a:lnTo>
                    <a:pt x="0" y="1864426"/>
                  </a:lnTo>
                  <a:lnTo>
                    <a:pt x="0" y="757992"/>
                  </a:lnTo>
                  <a:lnTo>
                    <a:pt x="44335" y="692672"/>
                  </a:lnTo>
                  <a:cubicBezTo>
                    <a:pt x="198283" y="490934"/>
                    <a:pt x="399086" y="321312"/>
                    <a:pt x="643341" y="198637"/>
                  </a:cubicBezTo>
                  <a:cubicBezTo>
                    <a:pt x="915766" y="61526"/>
                    <a:pt x="1219718" y="0"/>
                    <a:pt x="1534229" y="0"/>
                  </a:cubicBezTo>
                  <a:close/>
                </a:path>
              </a:pathLst>
            </a:custGeom>
            <a:solidFill>
              <a:srgbClr val="FFFFFF"/>
            </a:solidFill>
            <a:ln w="150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pic>
          <p:nvPicPr>
            <p:cNvPr id="8" name="Grafikk 7">
              <a:extLst>
                <a:ext uri="{FF2B5EF4-FFF2-40B4-BE49-F238E27FC236}">
                  <a16:creationId xmlns:a16="http://schemas.microsoft.com/office/drawing/2014/main" id="{E65FCD45-CF88-5F47-B1D6-842A2D00E8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41707" y="4756778"/>
              <a:ext cx="2745993" cy="2578243"/>
            </a:xfrm>
            <a:prstGeom prst="rect">
              <a:avLst/>
            </a:prstGeom>
          </p:spPr>
        </p:pic>
      </p:grpSp>
      <p:sp>
        <p:nvSpPr>
          <p:cNvPr id="11" name="Tittel 1">
            <a:extLst>
              <a:ext uri="{FF2B5EF4-FFF2-40B4-BE49-F238E27FC236}">
                <a16:creationId xmlns:a16="http://schemas.microsoft.com/office/drawing/2014/main" id="{66E543C8-816A-DE4C-B012-DDE484F89B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0" y="874712"/>
            <a:ext cx="5575300" cy="2387600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598DA538-F2DE-E544-8B72-E2752CCE00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0" y="3322637"/>
            <a:ext cx="5575300" cy="7629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D255C96C-01CA-5A41-BBA9-FD2316FC98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68400" y="4145862"/>
            <a:ext cx="4254500" cy="263526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b-NO" dirty="0"/>
              <a:t>Sikkerhetsmarkering</a:t>
            </a:r>
          </a:p>
        </p:txBody>
      </p:sp>
    </p:spTree>
    <p:extLst>
      <p:ext uri="{BB962C8B-B14F-4D97-AF65-F5344CB8AC3E}">
        <p14:creationId xmlns:p14="http://schemas.microsoft.com/office/powerpoint/2010/main" val="2211010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710">
          <p15:clr>
            <a:srgbClr val="FBAE40"/>
          </p15:clr>
        </p15:guide>
        <p15:guide id="2" orient="horz" pos="23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Title placeholder + content placeholder + image placeholder">
    <p:bg>
      <p:bgPr>
        <a:solidFill>
          <a:schemeClr val="bg2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51A132F3-B579-754E-B408-9351EEADE207}"/>
              </a:ext>
            </a:extLst>
          </p:cNvPr>
          <p:cNvSpPr/>
          <p:nvPr userDrawn="1"/>
        </p:nvSpPr>
        <p:spPr>
          <a:xfrm>
            <a:off x="5745892" y="0"/>
            <a:ext cx="653672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835AAE8-0A75-E94D-81B1-E2C777AEA0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84560" y="900927"/>
            <a:ext cx="5259388" cy="4873625"/>
          </a:xfrm>
        </p:spPr>
        <p:txBody>
          <a:bodyPr anchor="ctr"/>
          <a:lstStyle>
            <a:lvl1pPr algn="ctr">
              <a:buNone/>
              <a:defRPr sz="3200"/>
            </a:lvl1pPr>
            <a:lvl2pPr algn="ctr">
              <a:buNone/>
              <a:defRPr sz="2800"/>
            </a:lvl2pPr>
            <a:lvl3pPr algn="ctr">
              <a:buNone/>
              <a:defRPr sz="2400"/>
            </a:lvl3pPr>
            <a:lvl4pPr algn="ctr">
              <a:buNone/>
              <a:defRPr sz="2000"/>
            </a:lvl4pPr>
            <a:lvl5pPr algn="ctr">
              <a:buNone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dirty="0"/>
              <a:t>diagram / tabell</a:t>
            </a:r>
          </a:p>
        </p:txBody>
      </p:sp>
      <p:sp>
        <p:nvSpPr>
          <p:cNvPr id="6" name="Friform 5">
            <a:extLst>
              <a:ext uri="{FF2B5EF4-FFF2-40B4-BE49-F238E27FC236}">
                <a16:creationId xmlns:a16="http://schemas.microsoft.com/office/drawing/2014/main" id="{7C367A67-06BB-CE46-8F3E-5828AE5FA0F5}"/>
              </a:ext>
            </a:extLst>
          </p:cNvPr>
          <p:cNvSpPr/>
          <p:nvPr userDrawn="1"/>
        </p:nvSpPr>
        <p:spPr>
          <a:xfrm>
            <a:off x="11071224" y="6354318"/>
            <a:ext cx="771217" cy="152095"/>
          </a:xfrm>
          <a:custGeom>
            <a:avLst/>
            <a:gdLst>
              <a:gd name="connsiteX0" fmla="*/ 199054 w 771217"/>
              <a:gd name="connsiteY0" fmla="*/ 61515 h 152095"/>
              <a:gd name="connsiteX1" fmla="*/ 173594 w 771217"/>
              <a:gd name="connsiteY1" fmla="*/ 97655 h 152095"/>
              <a:gd name="connsiteX2" fmla="*/ 199054 w 771217"/>
              <a:gd name="connsiteY2" fmla="*/ 133795 h 152095"/>
              <a:gd name="connsiteX3" fmla="*/ 224669 w 771217"/>
              <a:gd name="connsiteY3" fmla="*/ 97655 h 152095"/>
              <a:gd name="connsiteX4" fmla="*/ 199054 w 771217"/>
              <a:gd name="connsiteY4" fmla="*/ 61515 h 152095"/>
              <a:gd name="connsiteX5" fmla="*/ 676473 w 771217"/>
              <a:gd name="connsiteY5" fmla="*/ 46290 h 152095"/>
              <a:gd name="connsiteX6" fmla="*/ 709032 w 771217"/>
              <a:gd name="connsiteY6" fmla="*/ 46290 h 152095"/>
              <a:gd name="connsiteX7" fmla="*/ 771217 w 771217"/>
              <a:gd name="connsiteY7" fmla="*/ 103345 h 152095"/>
              <a:gd name="connsiteX8" fmla="*/ 771217 w 771217"/>
              <a:gd name="connsiteY8" fmla="*/ 147327 h 152095"/>
              <a:gd name="connsiteX9" fmla="*/ 769828 w 771217"/>
              <a:gd name="connsiteY9" fmla="*/ 148711 h 152095"/>
              <a:gd name="connsiteX10" fmla="*/ 703477 w 771217"/>
              <a:gd name="connsiteY10" fmla="*/ 148711 h 152095"/>
              <a:gd name="connsiteX11" fmla="*/ 664129 w 771217"/>
              <a:gd name="connsiteY11" fmla="*/ 117185 h 152095"/>
              <a:gd name="connsiteX12" fmla="*/ 705328 w 771217"/>
              <a:gd name="connsiteY12" fmla="*/ 85813 h 152095"/>
              <a:gd name="connsiteX13" fmla="*/ 707952 w 771217"/>
              <a:gd name="connsiteY13" fmla="*/ 85813 h 152095"/>
              <a:gd name="connsiteX14" fmla="*/ 726931 w 771217"/>
              <a:gd name="connsiteY14" fmla="*/ 103498 h 152095"/>
              <a:gd name="connsiteX15" fmla="*/ 726931 w 771217"/>
              <a:gd name="connsiteY15" fmla="*/ 104729 h 152095"/>
              <a:gd name="connsiteX16" fmla="*/ 708415 w 771217"/>
              <a:gd name="connsiteY16" fmla="*/ 104729 h 152095"/>
              <a:gd name="connsiteX17" fmla="*/ 695762 w 771217"/>
              <a:gd name="connsiteY17" fmla="*/ 116716 h 152095"/>
              <a:gd name="connsiteX18" fmla="*/ 695762 w 771217"/>
              <a:gd name="connsiteY18" fmla="*/ 116724 h 152095"/>
              <a:gd name="connsiteX19" fmla="*/ 695762 w 771217"/>
              <a:gd name="connsiteY19" fmla="*/ 117185 h 152095"/>
              <a:gd name="connsiteX20" fmla="*/ 708415 w 771217"/>
              <a:gd name="connsiteY20" fmla="*/ 129796 h 152095"/>
              <a:gd name="connsiteX21" fmla="*/ 740664 w 771217"/>
              <a:gd name="connsiteY21" fmla="*/ 129796 h 152095"/>
              <a:gd name="connsiteX22" fmla="*/ 740664 w 771217"/>
              <a:gd name="connsiteY22" fmla="*/ 99346 h 152095"/>
              <a:gd name="connsiteX23" fmla="*/ 707026 w 771217"/>
              <a:gd name="connsiteY23" fmla="*/ 65821 h 152095"/>
              <a:gd name="connsiteX24" fmla="*/ 696224 w 771217"/>
              <a:gd name="connsiteY24" fmla="*/ 65821 h 152095"/>
              <a:gd name="connsiteX25" fmla="*/ 676475 w 771217"/>
              <a:gd name="connsiteY25" fmla="*/ 46662 h 152095"/>
              <a:gd name="connsiteX26" fmla="*/ 676473 w 771217"/>
              <a:gd name="connsiteY26" fmla="*/ 46598 h 152095"/>
              <a:gd name="connsiteX27" fmla="*/ 476154 w 771217"/>
              <a:gd name="connsiteY27" fmla="*/ 46290 h 152095"/>
              <a:gd name="connsiteX28" fmla="*/ 476185 w 771217"/>
              <a:gd name="connsiteY28" fmla="*/ 46290 h 152095"/>
              <a:gd name="connsiteX29" fmla="*/ 481740 w 771217"/>
              <a:gd name="connsiteY29" fmla="*/ 46290 h 152095"/>
              <a:gd name="connsiteX30" fmla="*/ 482975 w 771217"/>
              <a:gd name="connsiteY30" fmla="*/ 47520 h 152095"/>
              <a:gd name="connsiteX31" fmla="*/ 482975 w 771217"/>
              <a:gd name="connsiteY31" fmla="*/ 107650 h 152095"/>
              <a:gd name="connsiteX32" fmla="*/ 504732 w 771217"/>
              <a:gd name="connsiteY32" fmla="*/ 132256 h 152095"/>
              <a:gd name="connsiteX33" fmla="*/ 526489 w 771217"/>
              <a:gd name="connsiteY33" fmla="*/ 107650 h 152095"/>
              <a:gd name="connsiteX34" fmla="*/ 526489 w 771217"/>
              <a:gd name="connsiteY34" fmla="*/ 69665 h 152095"/>
              <a:gd name="connsiteX35" fmla="*/ 549912 w 771217"/>
              <a:gd name="connsiteY35" fmla="*/ 46290 h 152095"/>
              <a:gd name="connsiteX36" fmla="*/ 549943 w 771217"/>
              <a:gd name="connsiteY36" fmla="*/ 46290 h 152095"/>
              <a:gd name="connsiteX37" fmla="*/ 555498 w 771217"/>
              <a:gd name="connsiteY37" fmla="*/ 46290 h 152095"/>
              <a:gd name="connsiteX38" fmla="*/ 556887 w 771217"/>
              <a:gd name="connsiteY38" fmla="*/ 47366 h 152095"/>
              <a:gd name="connsiteX39" fmla="*/ 556887 w 771217"/>
              <a:gd name="connsiteY39" fmla="*/ 105190 h 152095"/>
              <a:gd name="connsiteX40" fmla="*/ 504886 w 771217"/>
              <a:gd name="connsiteY40" fmla="*/ 152095 h 152095"/>
              <a:gd name="connsiteX41" fmla="*/ 452731 w 771217"/>
              <a:gd name="connsiteY41" fmla="*/ 105344 h 152095"/>
              <a:gd name="connsiteX42" fmla="*/ 452731 w 771217"/>
              <a:gd name="connsiteY42" fmla="*/ 69665 h 152095"/>
              <a:gd name="connsiteX43" fmla="*/ 476154 w 771217"/>
              <a:gd name="connsiteY43" fmla="*/ 46290 h 152095"/>
              <a:gd name="connsiteX44" fmla="*/ 330522 w 771217"/>
              <a:gd name="connsiteY44" fmla="*/ 43829 h 152095"/>
              <a:gd name="connsiteX45" fmla="*/ 353822 w 771217"/>
              <a:gd name="connsiteY45" fmla="*/ 64283 h 152095"/>
              <a:gd name="connsiteX46" fmla="*/ 331139 w 771217"/>
              <a:gd name="connsiteY46" fmla="*/ 64129 h 152095"/>
              <a:gd name="connsiteX47" fmla="*/ 309382 w 771217"/>
              <a:gd name="connsiteY47" fmla="*/ 90580 h 152095"/>
              <a:gd name="connsiteX48" fmla="*/ 309382 w 771217"/>
              <a:gd name="connsiteY48" fmla="*/ 147481 h 152095"/>
              <a:gd name="connsiteX49" fmla="*/ 308179 w 771217"/>
              <a:gd name="connsiteY49" fmla="*/ 148711 h 152095"/>
              <a:gd name="connsiteX50" fmla="*/ 308148 w 771217"/>
              <a:gd name="connsiteY50" fmla="*/ 148711 h 152095"/>
              <a:gd name="connsiteX51" fmla="*/ 301821 w 771217"/>
              <a:gd name="connsiteY51" fmla="*/ 148711 h 152095"/>
              <a:gd name="connsiteX52" fmla="*/ 278367 w 771217"/>
              <a:gd name="connsiteY52" fmla="*/ 125366 h 152095"/>
              <a:gd name="connsiteX53" fmla="*/ 278367 w 771217"/>
              <a:gd name="connsiteY53" fmla="*/ 125336 h 152095"/>
              <a:gd name="connsiteX54" fmla="*/ 278367 w 771217"/>
              <a:gd name="connsiteY54" fmla="*/ 47674 h 152095"/>
              <a:gd name="connsiteX55" fmla="*/ 279601 w 771217"/>
              <a:gd name="connsiteY55" fmla="*/ 46443 h 152095"/>
              <a:gd name="connsiteX56" fmla="*/ 285928 w 771217"/>
              <a:gd name="connsiteY56" fmla="*/ 46443 h 152095"/>
              <a:gd name="connsiteX57" fmla="*/ 304907 w 771217"/>
              <a:gd name="connsiteY57" fmla="*/ 56132 h 152095"/>
              <a:gd name="connsiteX58" fmla="*/ 330522 w 771217"/>
              <a:gd name="connsiteY58" fmla="*/ 43829 h 152095"/>
              <a:gd name="connsiteX59" fmla="*/ 636817 w 771217"/>
              <a:gd name="connsiteY59" fmla="*/ 43676 h 152095"/>
              <a:gd name="connsiteX60" fmla="*/ 661043 w 771217"/>
              <a:gd name="connsiteY60" fmla="*/ 64130 h 152095"/>
              <a:gd name="connsiteX61" fmla="*/ 637434 w 771217"/>
              <a:gd name="connsiteY61" fmla="*/ 64130 h 152095"/>
              <a:gd name="connsiteX62" fmla="*/ 615677 w 771217"/>
              <a:gd name="connsiteY62" fmla="*/ 90581 h 152095"/>
              <a:gd name="connsiteX63" fmla="*/ 615677 w 771217"/>
              <a:gd name="connsiteY63" fmla="*/ 147481 h 152095"/>
              <a:gd name="connsiteX64" fmla="*/ 614473 w 771217"/>
              <a:gd name="connsiteY64" fmla="*/ 148712 h 152095"/>
              <a:gd name="connsiteX65" fmla="*/ 614443 w 771217"/>
              <a:gd name="connsiteY65" fmla="*/ 148712 h 152095"/>
              <a:gd name="connsiteX66" fmla="*/ 608270 w 771217"/>
              <a:gd name="connsiteY66" fmla="*/ 148712 h 152095"/>
              <a:gd name="connsiteX67" fmla="*/ 584816 w 771217"/>
              <a:gd name="connsiteY67" fmla="*/ 125367 h 152095"/>
              <a:gd name="connsiteX68" fmla="*/ 584816 w 771217"/>
              <a:gd name="connsiteY68" fmla="*/ 125336 h 152095"/>
              <a:gd name="connsiteX69" fmla="*/ 584816 w 771217"/>
              <a:gd name="connsiteY69" fmla="*/ 47674 h 152095"/>
              <a:gd name="connsiteX70" fmla="*/ 586050 w 771217"/>
              <a:gd name="connsiteY70" fmla="*/ 46444 h 152095"/>
              <a:gd name="connsiteX71" fmla="*/ 592377 w 771217"/>
              <a:gd name="connsiteY71" fmla="*/ 46444 h 152095"/>
              <a:gd name="connsiteX72" fmla="*/ 611202 w 771217"/>
              <a:gd name="connsiteY72" fmla="*/ 55979 h 152095"/>
              <a:gd name="connsiteX73" fmla="*/ 636817 w 771217"/>
              <a:gd name="connsiteY73" fmla="*/ 43676 h 152095"/>
              <a:gd name="connsiteX74" fmla="*/ 199054 w 771217"/>
              <a:gd name="connsiteY74" fmla="*/ 43061 h 152095"/>
              <a:gd name="connsiteX75" fmla="*/ 257227 w 771217"/>
              <a:gd name="connsiteY75" fmla="*/ 97501 h 152095"/>
              <a:gd name="connsiteX76" fmla="*/ 199054 w 771217"/>
              <a:gd name="connsiteY76" fmla="*/ 151941 h 152095"/>
              <a:gd name="connsiteX77" fmla="*/ 141190 w 771217"/>
              <a:gd name="connsiteY77" fmla="*/ 97655 h 152095"/>
              <a:gd name="connsiteX78" fmla="*/ 199054 w 771217"/>
              <a:gd name="connsiteY78" fmla="*/ 43061 h 152095"/>
              <a:gd name="connsiteX79" fmla="*/ 1203 w 771217"/>
              <a:gd name="connsiteY79" fmla="*/ 14764 h 152095"/>
              <a:gd name="connsiteX80" fmla="*/ 1235 w 771217"/>
              <a:gd name="connsiteY80" fmla="*/ 14764 h 152095"/>
              <a:gd name="connsiteX81" fmla="*/ 42125 w 771217"/>
              <a:gd name="connsiteY81" fmla="*/ 14764 h 152095"/>
              <a:gd name="connsiteX82" fmla="*/ 120667 w 771217"/>
              <a:gd name="connsiteY82" fmla="*/ 93809 h 152095"/>
              <a:gd name="connsiteX83" fmla="*/ 120667 w 771217"/>
              <a:gd name="connsiteY83" fmla="*/ 125336 h 152095"/>
              <a:gd name="connsiteX84" fmla="*/ 97490 w 771217"/>
              <a:gd name="connsiteY84" fmla="*/ 148711 h 152095"/>
              <a:gd name="connsiteX85" fmla="*/ 97367 w 771217"/>
              <a:gd name="connsiteY85" fmla="*/ 148711 h 152095"/>
              <a:gd name="connsiteX86" fmla="*/ 97058 w 771217"/>
              <a:gd name="connsiteY86" fmla="*/ 148711 h 152095"/>
              <a:gd name="connsiteX87" fmla="*/ 89497 w 771217"/>
              <a:gd name="connsiteY87" fmla="*/ 148711 h 152095"/>
              <a:gd name="connsiteX88" fmla="*/ 88263 w 771217"/>
              <a:gd name="connsiteY88" fmla="*/ 147512 h 152095"/>
              <a:gd name="connsiteX89" fmla="*/ 88263 w 771217"/>
              <a:gd name="connsiteY89" fmla="*/ 147481 h 152095"/>
              <a:gd name="connsiteX90" fmla="*/ 88263 w 771217"/>
              <a:gd name="connsiteY90" fmla="*/ 88888 h 152095"/>
              <a:gd name="connsiteX91" fmla="*/ 32250 w 771217"/>
              <a:gd name="connsiteY91" fmla="*/ 34294 h 152095"/>
              <a:gd name="connsiteX92" fmla="*/ 32250 w 771217"/>
              <a:gd name="connsiteY92" fmla="*/ 125182 h 152095"/>
              <a:gd name="connsiteX93" fmla="*/ 8826 w 771217"/>
              <a:gd name="connsiteY93" fmla="*/ 148557 h 152095"/>
              <a:gd name="connsiteX94" fmla="*/ 8795 w 771217"/>
              <a:gd name="connsiteY94" fmla="*/ 148557 h 152095"/>
              <a:gd name="connsiteX95" fmla="*/ 1235 w 771217"/>
              <a:gd name="connsiteY95" fmla="*/ 148557 h 152095"/>
              <a:gd name="connsiteX96" fmla="*/ 0 w 771217"/>
              <a:gd name="connsiteY96" fmla="*/ 147358 h 152095"/>
              <a:gd name="connsiteX97" fmla="*/ 0 w 771217"/>
              <a:gd name="connsiteY97" fmla="*/ 147327 h 152095"/>
              <a:gd name="connsiteX98" fmla="*/ 0 w 771217"/>
              <a:gd name="connsiteY98" fmla="*/ 15994 h 152095"/>
              <a:gd name="connsiteX99" fmla="*/ 1203 w 771217"/>
              <a:gd name="connsiteY99" fmla="*/ 14764 h 152095"/>
              <a:gd name="connsiteX100" fmla="*/ 411347 w 771217"/>
              <a:gd name="connsiteY100" fmla="*/ 0 h 152095"/>
              <a:gd name="connsiteX101" fmla="*/ 411378 w 771217"/>
              <a:gd name="connsiteY101" fmla="*/ 0 h 152095"/>
              <a:gd name="connsiteX102" fmla="*/ 417704 w 771217"/>
              <a:gd name="connsiteY102" fmla="*/ 0 h 152095"/>
              <a:gd name="connsiteX103" fmla="*/ 418939 w 771217"/>
              <a:gd name="connsiteY103" fmla="*/ 1230 h 152095"/>
              <a:gd name="connsiteX104" fmla="*/ 418939 w 771217"/>
              <a:gd name="connsiteY104" fmla="*/ 46290 h 152095"/>
              <a:gd name="connsiteX105" fmla="*/ 442702 w 771217"/>
              <a:gd name="connsiteY105" fmla="*/ 46290 h 152095"/>
              <a:gd name="connsiteX106" fmla="*/ 422796 w 771217"/>
              <a:gd name="connsiteY106" fmla="*/ 64282 h 152095"/>
              <a:gd name="connsiteX107" fmla="*/ 418784 w 771217"/>
              <a:gd name="connsiteY107" fmla="*/ 64282 h 152095"/>
              <a:gd name="connsiteX108" fmla="*/ 418784 w 771217"/>
              <a:gd name="connsiteY108" fmla="*/ 125335 h 152095"/>
              <a:gd name="connsiteX109" fmla="*/ 395361 w 771217"/>
              <a:gd name="connsiteY109" fmla="*/ 148711 h 152095"/>
              <a:gd name="connsiteX110" fmla="*/ 395330 w 771217"/>
              <a:gd name="connsiteY110" fmla="*/ 148711 h 152095"/>
              <a:gd name="connsiteX111" fmla="*/ 389158 w 771217"/>
              <a:gd name="connsiteY111" fmla="*/ 148711 h 152095"/>
              <a:gd name="connsiteX112" fmla="*/ 387923 w 771217"/>
              <a:gd name="connsiteY112" fmla="*/ 147512 h 152095"/>
              <a:gd name="connsiteX113" fmla="*/ 387923 w 771217"/>
              <a:gd name="connsiteY113" fmla="*/ 147481 h 152095"/>
              <a:gd name="connsiteX114" fmla="*/ 387923 w 771217"/>
              <a:gd name="connsiteY114" fmla="*/ 64282 h 152095"/>
              <a:gd name="connsiteX115" fmla="*/ 364006 w 771217"/>
              <a:gd name="connsiteY115" fmla="*/ 64282 h 152095"/>
              <a:gd name="connsiteX116" fmla="*/ 383911 w 771217"/>
              <a:gd name="connsiteY116" fmla="*/ 46443 h 152095"/>
              <a:gd name="connsiteX117" fmla="*/ 387923 w 771217"/>
              <a:gd name="connsiteY117" fmla="*/ 46443 h 152095"/>
              <a:gd name="connsiteX118" fmla="*/ 387923 w 771217"/>
              <a:gd name="connsiteY118" fmla="*/ 23375 h 152095"/>
              <a:gd name="connsiteX119" fmla="*/ 411347 w 771217"/>
              <a:gd name="connsiteY119" fmla="*/ 0 h 152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771217" h="152095">
                <a:moveTo>
                  <a:pt x="199054" y="61515"/>
                </a:moveTo>
                <a:cubicBezTo>
                  <a:pt x="185013" y="61515"/>
                  <a:pt x="173594" y="77663"/>
                  <a:pt x="173594" y="97655"/>
                </a:cubicBezTo>
                <a:cubicBezTo>
                  <a:pt x="173594" y="117647"/>
                  <a:pt x="185013" y="133795"/>
                  <a:pt x="199054" y="133795"/>
                </a:cubicBezTo>
                <a:cubicBezTo>
                  <a:pt x="213096" y="133795"/>
                  <a:pt x="224669" y="117647"/>
                  <a:pt x="224669" y="97655"/>
                </a:cubicBezTo>
                <a:cubicBezTo>
                  <a:pt x="224669" y="77663"/>
                  <a:pt x="213250" y="61515"/>
                  <a:pt x="199054" y="61515"/>
                </a:cubicBezTo>
                <a:close/>
                <a:moveTo>
                  <a:pt x="676473" y="46290"/>
                </a:moveTo>
                <a:lnTo>
                  <a:pt x="709032" y="46290"/>
                </a:lnTo>
                <a:cubicBezTo>
                  <a:pt x="752546" y="46290"/>
                  <a:pt x="771217" y="68128"/>
                  <a:pt x="771217" y="103345"/>
                </a:cubicBezTo>
                <a:lnTo>
                  <a:pt x="771217" y="147327"/>
                </a:lnTo>
                <a:cubicBezTo>
                  <a:pt x="771062" y="148096"/>
                  <a:pt x="770599" y="148711"/>
                  <a:pt x="769828" y="148711"/>
                </a:cubicBezTo>
                <a:lnTo>
                  <a:pt x="703477" y="148711"/>
                </a:lnTo>
                <a:cubicBezTo>
                  <a:pt x="681257" y="148711"/>
                  <a:pt x="664129" y="134563"/>
                  <a:pt x="664129" y="117185"/>
                </a:cubicBezTo>
                <a:cubicBezTo>
                  <a:pt x="664129" y="99807"/>
                  <a:pt x="681565" y="85813"/>
                  <a:pt x="705328" y="85813"/>
                </a:cubicBezTo>
                <a:lnTo>
                  <a:pt x="707952" y="85813"/>
                </a:lnTo>
                <a:cubicBezTo>
                  <a:pt x="718063" y="85552"/>
                  <a:pt x="726513" y="93426"/>
                  <a:pt x="726931" y="103498"/>
                </a:cubicBezTo>
                <a:lnTo>
                  <a:pt x="726931" y="104729"/>
                </a:lnTo>
                <a:lnTo>
                  <a:pt x="708415" y="104729"/>
                </a:lnTo>
                <a:cubicBezTo>
                  <a:pt x="701599" y="104557"/>
                  <a:pt x="695934" y="109924"/>
                  <a:pt x="695762" y="116716"/>
                </a:cubicBezTo>
                <a:cubicBezTo>
                  <a:pt x="695762" y="116719"/>
                  <a:pt x="695762" y="116721"/>
                  <a:pt x="695762" y="116724"/>
                </a:cubicBezTo>
                <a:lnTo>
                  <a:pt x="695762" y="117185"/>
                </a:lnTo>
                <a:cubicBezTo>
                  <a:pt x="695795" y="124136"/>
                  <a:pt x="701440" y="129762"/>
                  <a:pt x="708415" y="129796"/>
                </a:cubicBezTo>
                <a:lnTo>
                  <a:pt x="740664" y="129796"/>
                </a:lnTo>
                <a:lnTo>
                  <a:pt x="740664" y="99346"/>
                </a:lnTo>
                <a:cubicBezTo>
                  <a:pt x="740664" y="78585"/>
                  <a:pt x="729246" y="65821"/>
                  <a:pt x="707026" y="65821"/>
                </a:cubicBezTo>
                <a:lnTo>
                  <a:pt x="696224" y="65821"/>
                </a:lnTo>
                <a:cubicBezTo>
                  <a:pt x="685462" y="65966"/>
                  <a:pt x="676620" y="57388"/>
                  <a:pt x="676475" y="46662"/>
                </a:cubicBezTo>
                <a:cubicBezTo>
                  <a:pt x="676473" y="46640"/>
                  <a:pt x="676473" y="46619"/>
                  <a:pt x="676473" y="46598"/>
                </a:cubicBezTo>
                <a:close/>
                <a:moveTo>
                  <a:pt x="476154" y="46290"/>
                </a:moveTo>
                <a:cubicBezTo>
                  <a:pt x="476165" y="46290"/>
                  <a:pt x="476175" y="46290"/>
                  <a:pt x="476185" y="46290"/>
                </a:cubicBezTo>
                <a:lnTo>
                  <a:pt x="481740" y="46290"/>
                </a:lnTo>
                <a:cubicBezTo>
                  <a:pt x="482402" y="46334"/>
                  <a:pt x="482930" y="46860"/>
                  <a:pt x="482975" y="47520"/>
                </a:cubicBezTo>
                <a:lnTo>
                  <a:pt x="482975" y="107650"/>
                </a:lnTo>
                <a:cubicBezTo>
                  <a:pt x="482975" y="121645"/>
                  <a:pt x="492696" y="132256"/>
                  <a:pt x="504732" y="132256"/>
                </a:cubicBezTo>
                <a:cubicBezTo>
                  <a:pt x="516768" y="132256"/>
                  <a:pt x="526489" y="121491"/>
                  <a:pt x="526489" y="107650"/>
                </a:cubicBezTo>
                <a:lnTo>
                  <a:pt x="526489" y="69665"/>
                </a:lnTo>
                <a:cubicBezTo>
                  <a:pt x="526480" y="56764"/>
                  <a:pt x="536968" y="46298"/>
                  <a:pt x="549912" y="46290"/>
                </a:cubicBezTo>
                <a:cubicBezTo>
                  <a:pt x="549923" y="46290"/>
                  <a:pt x="549932" y="46290"/>
                  <a:pt x="549943" y="46290"/>
                </a:cubicBezTo>
                <a:lnTo>
                  <a:pt x="555498" y="46290"/>
                </a:lnTo>
                <a:cubicBezTo>
                  <a:pt x="556115" y="46136"/>
                  <a:pt x="556733" y="46751"/>
                  <a:pt x="556887" y="47366"/>
                </a:cubicBezTo>
                <a:lnTo>
                  <a:pt x="556887" y="105190"/>
                </a:lnTo>
                <a:cubicBezTo>
                  <a:pt x="557041" y="131795"/>
                  <a:pt x="533741" y="152095"/>
                  <a:pt x="504886" y="152095"/>
                </a:cubicBezTo>
                <a:cubicBezTo>
                  <a:pt x="476031" y="152095"/>
                  <a:pt x="452731" y="131641"/>
                  <a:pt x="452731" y="105344"/>
                </a:cubicBezTo>
                <a:lnTo>
                  <a:pt x="452731" y="69665"/>
                </a:lnTo>
                <a:cubicBezTo>
                  <a:pt x="452722" y="56764"/>
                  <a:pt x="463210" y="46298"/>
                  <a:pt x="476154" y="46290"/>
                </a:cubicBezTo>
                <a:close/>
                <a:moveTo>
                  <a:pt x="330522" y="43829"/>
                </a:moveTo>
                <a:cubicBezTo>
                  <a:pt x="347804" y="43829"/>
                  <a:pt x="353822" y="53210"/>
                  <a:pt x="353822" y="64283"/>
                </a:cubicBezTo>
                <a:lnTo>
                  <a:pt x="331139" y="64129"/>
                </a:lnTo>
                <a:cubicBezTo>
                  <a:pt x="313857" y="64129"/>
                  <a:pt x="309382" y="71664"/>
                  <a:pt x="309382" y="90580"/>
                </a:cubicBezTo>
                <a:lnTo>
                  <a:pt x="309382" y="147481"/>
                </a:lnTo>
                <a:cubicBezTo>
                  <a:pt x="309392" y="148152"/>
                  <a:pt x="308852" y="148702"/>
                  <a:pt x="308179" y="148711"/>
                </a:cubicBezTo>
                <a:cubicBezTo>
                  <a:pt x="308168" y="148711"/>
                  <a:pt x="308159" y="148711"/>
                  <a:pt x="308148" y="148711"/>
                </a:cubicBezTo>
                <a:lnTo>
                  <a:pt x="301821" y="148711"/>
                </a:lnTo>
                <a:cubicBezTo>
                  <a:pt x="288877" y="148719"/>
                  <a:pt x="278376" y="138268"/>
                  <a:pt x="278367" y="125366"/>
                </a:cubicBezTo>
                <a:cubicBezTo>
                  <a:pt x="278367" y="125356"/>
                  <a:pt x="278367" y="125346"/>
                  <a:pt x="278367" y="125336"/>
                </a:cubicBezTo>
                <a:lnTo>
                  <a:pt x="278367" y="47674"/>
                </a:lnTo>
                <a:cubicBezTo>
                  <a:pt x="278412" y="47014"/>
                  <a:pt x="278939" y="46488"/>
                  <a:pt x="279601" y="46443"/>
                </a:cubicBezTo>
                <a:lnTo>
                  <a:pt x="285928" y="46443"/>
                </a:lnTo>
                <a:cubicBezTo>
                  <a:pt x="293455" y="46421"/>
                  <a:pt x="300527" y="50031"/>
                  <a:pt x="304907" y="56132"/>
                </a:cubicBezTo>
                <a:cubicBezTo>
                  <a:pt x="311388" y="47827"/>
                  <a:pt x="316326" y="43829"/>
                  <a:pt x="330522" y="43829"/>
                </a:cubicBezTo>
                <a:close/>
                <a:moveTo>
                  <a:pt x="636817" y="43676"/>
                </a:moveTo>
                <a:cubicBezTo>
                  <a:pt x="654099" y="43676"/>
                  <a:pt x="661043" y="53057"/>
                  <a:pt x="661043" y="64130"/>
                </a:cubicBezTo>
                <a:lnTo>
                  <a:pt x="637434" y="64130"/>
                </a:lnTo>
                <a:cubicBezTo>
                  <a:pt x="620306" y="64130"/>
                  <a:pt x="615677" y="71665"/>
                  <a:pt x="615677" y="90581"/>
                </a:cubicBezTo>
                <a:lnTo>
                  <a:pt x="615677" y="147481"/>
                </a:lnTo>
                <a:cubicBezTo>
                  <a:pt x="615686" y="148152"/>
                  <a:pt x="615146" y="148703"/>
                  <a:pt x="614473" y="148712"/>
                </a:cubicBezTo>
                <a:cubicBezTo>
                  <a:pt x="614463" y="148712"/>
                  <a:pt x="614453" y="148712"/>
                  <a:pt x="614443" y="148712"/>
                </a:cubicBezTo>
                <a:lnTo>
                  <a:pt x="608270" y="148712"/>
                </a:lnTo>
                <a:cubicBezTo>
                  <a:pt x="595326" y="148720"/>
                  <a:pt x="584825" y="138268"/>
                  <a:pt x="584816" y="125367"/>
                </a:cubicBezTo>
                <a:cubicBezTo>
                  <a:pt x="584816" y="125357"/>
                  <a:pt x="584816" y="125347"/>
                  <a:pt x="584816" y="125336"/>
                </a:cubicBezTo>
                <a:lnTo>
                  <a:pt x="584816" y="47674"/>
                </a:lnTo>
                <a:cubicBezTo>
                  <a:pt x="584861" y="47014"/>
                  <a:pt x="585388" y="46489"/>
                  <a:pt x="586050" y="46444"/>
                </a:cubicBezTo>
                <a:lnTo>
                  <a:pt x="592377" y="46444"/>
                </a:lnTo>
                <a:cubicBezTo>
                  <a:pt x="599805" y="46502"/>
                  <a:pt x="606777" y="50033"/>
                  <a:pt x="611202" y="55979"/>
                </a:cubicBezTo>
                <a:cubicBezTo>
                  <a:pt x="617683" y="47674"/>
                  <a:pt x="622621" y="43676"/>
                  <a:pt x="636817" y="43676"/>
                </a:cubicBezTo>
                <a:close/>
                <a:moveTo>
                  <a:pt x="199054" y="43061"/>
                </a:moveTo>
                <a:cubicBezTo>
                  <a:pt x="231613" y="43061"/>
                  <a:pt x="257227" y="67667"/>
                  <a:pt x="257227" y="97501"/>
                </a:cubicBezTo>
                <a:cubicBezTo>
                  <a:pt x="257227" y="127336"/>
                  <a:pt x="231767" y="151941"/>
                  <a:pt x="199054" y="151941"/>
                </a:cubicBezTo>
                <a:cubicBezTo>
                  <a:pt x="166496" y="151941"/>
                  <a:pt x="141190" y="127643"/>
                  <a:pt x="141190" y="97655"/>
                </a:cubicBezTo>
                <a:cubicBezTo>
                  <a:pt x="141190" y="67667"/>
                  <a:pt x="166496" y="43061"/>
                  <a:pt x="199054" y="43061"/>
                </a:cubicBezTo>
                <a:close/>
                <a:moveTo>
                  <a:pt x="1203" y="14764"/>
                </a:moveTo>
                <a:cubicBezTo>
                  <a:pt x="1214" y="14763"/>
                  <a:pt x="1224" y="14763"/>
                  <a:pt x="1235" y="14764"/>
                </a:cubicBezTo>
                <a:lnTo>
                  <a:pt x="42125" y="14764"/>
                </a:lnTo>
                <a:cubicBezTo>
                  <a:pt x="87645" y="14610"/>
                  <a:pt x="120667" y="47674"/>
                  <a:pt x="120667" y="93809"/>
                </a:cubicBezTo>
                <a:lnTo>
                  <a:pt x="120667" y="125336"/>
                </a:lnTo>
                <a:cubicBezTo>
                  <a:pt x="120743" y="138169"/>
                  <a:pt x="110367" y="148634"/>
                  <a:pt x="97490" y="148711"/>
                </a:cubicBezTo>
                <a:cubicBezTo>
                  <a:pt x="97449" y="148711"/>
                  <a:pt x="97408" y="148711"/>
                  <a:pt x="97367" y="148711"/>
                </a:cubicBezTo>
                <a:lnTo>
                  <a:pt x="97058" y="148711"/>
                </a:lnTo>
                <a:lnTo>
                  <a:pt x="89497" y="148711"/>
                </a:lnTo>
                <a:cubicBezTo>
                  <a:pt x="88824" y="148720"/>
                  <a:pt x="88271" y="148183"/>
                  <a:pt x="88263" y="147512"/>
                </a:cubicBezTo>
                <a:cubicBezTo>
                  <a:pt x="88262" y="147501"/>
                  <a:pt x="88262" y="147491"/>
                  <a:pt x="88263" y="147481"/>
                </a:cubicBezTo>
                <a:lnTo>
                  <a:pt x="88263" y="88888"/>
                </a:lnTo>
                <a:cubicBezTo>
                  <a:pt x="88263" y="56901"/>
                  <a:pt x="68666" y="34294"/>
                  <a:pt x="32250" y="34294"/>
                </a:cubicBezTo>
                <a:lnTo>
                  <a:pt x="32250" y="125182"/>
                </a:lnTo>
                <a:cubicBezTo>
                  <a:pt x="32258" y="138083"/>
                  <a:pt x="21771" y="148549"/>
                  <a:pt x="8826" y="148557"/>
                </a:cubicBezTo>
                <a:cubicBezTo>
                  <a:pt x="8816" y="148557"/>
                  <a:pt x="8806" y="148557"/>
                  <a:pt x="8795" y="148557"/>
                </a:cubicBezTo>
                <a:lnTo>
                  <a:pt x="1235" y="148557"/>
                </a:lnTo>
                <a:cubicBezTo>
                  <a:pt x="561" y="148566"/>
                  <a:pt x="9" y="148029"/>
                  <a:pt x="0" y="147358"/>
                </a:cubicBezTo>
                <a:cubicBezTo>
                  <a:pt x="0" y="147348"/>
                  <a:pt x="0" y="147337"/>
                  <a:pt x="0" y="147327"/>
                </a:cubicBezTo>
                <a:lnTo>
                  <a:pt x="0" y="15994"/>
                </a:lnTo>
                <a:cubicBezTo>
                  <a:pt x="-8" y="15323"/>
                  <a:pt x="530" y="14772"/>
                  <a:pt x="1203" y="14764"/>
                </a:cubicBezTo>
                <a:close/>
                <a:moveTo>
                  <a:pt x="411347" y="0"/>
                </a:moveTo>
                <a:cubicBezTo>
                  <a:pt x="411358" y="0"/>
                  <a:pt x="411367" y="0"/>
                  <a:pt x="411378" y="0"/>
                </a:cubicBezTo>
                <a:lnTo>
                  <a:pt x="417704" y="0"/>
                </a:lnTo>
                <a:cubicBezTo>
                  <a:pt x="418366" y="45"/>
                  <a:pt x="418894" y="570"/>
                  <a:pt x="418939" y="1230"/>
                </a:cubicBezTo>
                <a:lnTo>
                  <a:pt x="418939" y="46290"/>
                </a:lnTo>
                <a:lnTo>
                  <a:pt x="442702" y="46290"/>
                </a:lnTo>
                <a:cubicBezTo>
                  <a:pt x="442702" y="57362"/>
                  <a:pt x="433752" y="64282"/>
                  <a:pt x="422796" y="64282"/>
                </a:cubicBezTo>
                <a:lnTo>
                  <a:pt x="418784" y="64282"/>
                </a:lnTo>
                <a:lnTo>
                  <a:pt x="418784" y="125335"/>
                </a:lnTo>
                <a:cubicBezTo>
                  <a:pt x="418794" y="138237"/>
                  <a:pt x="408305" y="148702"/>
                  <a:pt x="395361" y="148711"/>
                </a:cubicBezTo>
                <a:cubicBezTo>
                  <a:pt x="395350" y="148711"/>
                  <a:pt x="395341" y="148711"/>
                  <a:pt x="395330" y="148711"/>
                </a:cubicBezTo>
                <a:lnTo>
                  <a:pt x="389158" y="148711"/>
                </a:lnTo>
                <a:cubicBezTo>
                  <a:pt x="388485" y="148720"/>
                  <a:pt x="387933" y="148183"/>
                  <a:pt x="387923" y="147512"/>
                </a:cubicBezTo>
                <a:cubicBezTo>
                  <a:pt x="387923" y="147501"/>
                  <a:pt x="387923" y="147491"/>
                  <a:pt x="387923" y="147481"/>
                </a:cubicBezTo>
                <a:lnTo>
                  <a:pt x="387923" y="64282"/>
                </a:lnTo>
                <a:lnTo>
                  <a:pt x="364006" y="64282"/>
                </a:lnTo>
                <a:cubicBezTo>
                  <a:pt x="364006" y="53364"/>
                  <a:pt x="372801" y="46443"/>
                  <a:pt x="383911" y="46443"/>
                </a:cubicBezTo>
                <a:lnTo>
                  <a:pt x="387923" y="46443"/>
                </a:lnTo>
                <a:lnTo>
                  <a:pt x="387923" y="23375"/>
                </a:lnTo>
                <a:cubicBezTo>
                  <a:pt x="387914" y="10474"/>
                  <a:pt x="398402" y="9"/>
                  <a:pt x="411347" y="0"/>
                </a:cubicBezTo>
                <a:close/>
              </a:path>
            </a:pathLst>
          </a:custGeom>
          <a:solidFill>
            <a:srgbClr val="004411"/>
          </a:solidFill>
          <a:ln w="1543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D5E261A5-61DA-5C4A-9F04-369DB5573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4481512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tekst 3">
            <a:extLst>
              <a:ext uri="{FF2B5EF4-FFF2-40B4-BE49-F238E27FC236}">
                <a16:creationId xmlns:a16="http://schemas.microsoft.com/office/drawing/2014/main" id="{578CEB82-4FEC-084D-BA1D-04AC261638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349500"/>
            <a:ext cx="4481512" cy="374650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424436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Content slide: Title placeholder + content placeholder 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835AAE8-0A75-E94D-81B1-E2C777AEA0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7" y="1655805"/>
            <a:ext cx="10804161" cy="4473146"/>
          </a:xfrm>
        </p:spPr>
        <p:txBody>
          <a:bodyPr anchor="ctr"/>
          <a:lstStyle>
            <a:lvl1pPr algn="ctr">
              <a:buNone/>
              <a:defRPr sz="3200"/>
            </a:lvl1pPr>
            <a:lvl2pPr algn="ctr">
              <a:buNone/>
              <a:defRPr sz="2800"/>
            </a:lvl2pPr>
            <a:lvl3pPr algn="ctr">
              <a:buNone/>
              <a:defRPr sz="2400"/>
            </a:lvl3pPr>
            <a:lvl4pPr algn="ctr">
              <a:buNone/>
              <a:defRPr sz="2000"/>
            </a:lvl4pPr>
            <a:lvl5pPr algn="ctr">
              <a:buNone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dirty="0"/>
              <a:t>diagram / tabell</a:t>
            </a:r>
          </a:p>
        </p:txBody>
      </p:sp>
      <p:sp>
        <p:nvSpPr>
          <p:cNvPr id="6" name="Friform 5">
            <a:extLst>
              <a:ext uri="{FF2B5EF4-FFF2-40B4-BE49-F238E27FC236}">
                <a16:creationId xmlns:a16="http://schemas.microsoft.com/office/drawing/2014/main" id="{7C367A67-06BB-CE46-8F3E-5828AE5FA0F5}"/>
              </a:ext>
            </a:extLst>
          </p:cNvPr>
          <p:cNvSpPr/>
          <p:nvPr userDrawn="1"/>
        </p:nvSpPr>
        <p:spPr>
          <a:xfrm>
            <a:off x="11071224" y="6354318"/>
            <a:ext cx="771217" cy="152095"/>
          </a:xfrm>
          <a:custGeom>
            <a:avLst/>
            <a:gdLst>
              <a:gd name="connsiteX0" fmla="*/ 199054 w 771217"/>
              <a:gd name="connsiteY0" fmla="*/ 61515 h 152095"/>
              <a:gd name="connsiteX1" fmla="*/ 173594 w 771217"/>
              <a:gd name="connsiteY1" fmla="*/ 97655 h 152095"/>
              <a:gd name="connsiteX2" fmla="*/ 199054 w 771217"/>
              <a:gd name="connsiteY2" fmla="*/ 133795 h 152095"/>
              <a:gd name="connsiteX3" fmla="*/ 224669 w 771217"/>
              <a:gd name="connsiteY3" fmla="*/ 97655 h 152095"/>
              <a:gd name="connsiteX4" fmla="*/ 199054 w 771217"/>
              <a:gd name="connsiteY4" fmla="*/ 61515 h 152095"/>
              <a:gd name="connsiteX5" fmla="*/ 676473 w 771217"/>
              <a:gd name="connsiteY5" fmla="*/ 46290 h 152095"/>
              <a:gd name="connsiteX6" fmla="*/ 709032 w 771217"/>
              <a:gd name="connsiteY6" fmla="*/ 46290 h 152095"/>
              <a:gd name="connsiteX7" fmla="*/ 771217 w 771217"/>
              <a:gd name="connsiteY7" fmla="*/ 103345 h 152095"/>
              <a:gd name="connsiteX8" fmla="*/ 771217 w 771217"/>
              <a:gd name="connsiteY8" fmla="*/ 147327 h 152095"/>
              <a:gd name="connsiteX9" fmla="*/ 769828 w 771217"/>
              <a:gd name="connsiteY9" fmla="*/ 148711 h 152095"/>
              <a:gd name="connsiteX10" fmla="*/ 703477 w 771217"/>
              <a:gd name="connsiteY10" fmla="*/ 148711 h 152095"/>
              <a:gd name="connsiteX11" fmla="*/ 664129 w 771217"/>
              <a:gd name="connsiteY11" fmla="*/ 117185 h 152095"/>
              <a:gd name="connsiteX12" fmla="*/ 705328 w 771217"/>
              <a:gd name="connsiteY12" fmla="*/ 85813 h 152095"/>
              <a:gd name="connsiteX13" fmla="*/ 707952 w 771217"/>
              <a:gd name="connsiteY13" fmla="*/ 85813 h 152095"/>
              <a:gd name="connsiteX14" fmla="*/ 726931 w 771217"/>
              <a:gd name="connsiteY14" fmla="*/ 103498 h 152095"/>
              <a:gd name="connsiteX15" fmla="*/ 726931 w 771217"/>
              <a:gd name="connsiteY15" fmla="*/ 104729 h 152095"/>
              <a:gd name="connsiteX16" fmla="*/ 708415 w 771217"/>
              <a:gd name="connsiteY16" fmla="*/ 104729 h 152095"/>
              <a:gd name="connsiteX17" fmla="*/ 695762 w 771217"/>
              <a:gd name="connsiteY17" fmla="*/ 116716 h 152095"/>
              <a:gd name="connsiteX18" fmla="*/ 695762 w 771217"/>
              <a:gd name="connsiteY18" fmla="*/ 116724 h 152095"/>
              <a:gd name="connsiteX19" fmla="*/ 695762 w 771217"/>
              <a:gd name="connsiteY19" fmla="*/ 117185 h 152095"/>
              <a:gd name="connsiteX20" fmla="*/ 708415 w 771217"/>
              <a:gd name="connsiteY20" fmla="*/ 129796 h 152095"/>
              <a:gd name="connsiteX21" fmla="*/ 740664 w 771217"/>
              <a:gd name="connsiteY21" fmla="*/ 129796 h 152095"/>
              <a:gd name="connsiteX22" fmla="*/ 740664 w 771217"/>
              <a:gd name="connsiteY22" fmla="*/ 99346 h 152095"/>
              <a:gd name="connsiteX23" fmla="*/ 707026 w 771217"/>
              <a:gd name="connsiteY23" fmla="*/ 65821 h 152095"/>
              <a:gd name="connsiteX24" fmla="*/ 696224 w 771217"/>
              <a:gd name="connsiteY24" fmla="*/ 65821 h 152095"/>
              <a:gd name="connsiteX25" fmla="*/ 676475 w 771217"/>
              <a:gd name="connsiteY25" fmla="*/ 46662 h 152095"/>
              <a:gd name="connsiteX26" fmla="*/ 676473 w 771217"/>
              <a:gd name="connsiteY26" fmla="*/ 46598 h 152095"/>
              <a:gd name="connsiteX27" fmla="*/ 476154 w 771217"/>
              <a:gd name="connsiteY27" fmla="*/ 46290 h 152095"/>
              <a:gd name="connsiteX28" fmla="*/ 476185 w 771217"/>
              <a:gd name="connsiteY28" fmla="*/ 46290 h 152095"/>
              <a:gd name="connsiteX29" fmla="*/ 481740 w 771217"/>
              <a:gd name="connsiteY29" fmla="*/ 46290 h 152095"/>
              <a:gd name="connsiteX30" fmla="*/ 482975 w 771217"/>
              <a:gd name="connsiteY30" fmla="*/ 47520 h 152095"/>
              <a:gd name="connsiteX31" fmla="*/ 482975 w 771217"/>
              <a:gd name="connsiteY31" fmla="*/ 107650 h 152095"/>
              <a:gd name="connsiteX32" fmla="*/ 504732 w 771217"/>
              <a:gd name="connsiteY32" fmla="*/ 132256 h 152095"/>
              <a:gd name="connsiteX33" fmla="*/ 526489 w 771217"/>
              <a:gd name="connsiteY33" fmla="*/ 107650 h 152095"/>
              <a:gd name="connsiteX34" fmla="*/ 526489 w 771217"/>
              <a:gd name="connsiteY34" fmla="*/ 69665 h 152095"/>
              <a:gd name="connsiteX35" fmla="*/ 549912 w 771217"/>
              <a:gd name="connsiteY35" fmla="*/ 46290 h 152095"/>
              <a:gd name="connsiteX36" fmla="*/ 549943 w 771217"/>
              <a:gd name="connsiteY36" fmla="*/ 46290 h 152095"/>
              <a:gd name="connsiteX37" fmla="*/ 555498 w 771217"/>
              <a:gd name="connsiteY37" fmla="*/ 46290 h 152095"/>
              <a:gd name="connsiteX38" fmla="*/ 556887 w 771217"/>
              <a:gd name="connsiteY38" fmla="*/ 47366 h 152095"/>
              <a:gd name="connsiteX39" fmla="*/ 556887 w 771217"/>
              <a:gd name="connsiteY39" fmla="*/ 105190 h 152095"/>
              <a:gd name="connsiteX40" fmla="*/ 504886 w 771217"/>
              <a:gd name="connsiteY40" fmla="*/ 152095 h 152095"/>
              <a:gd name="connsiteX41" fmla="*/ 452731 w 771217"/>
              <a:gd name="connsiteY41" fmla="*/ 105344 h 152095"/>
              <a:gd name="connsiteX42" fmla="*/ 452731 w 771217"/>
              <a:gd name="connsiteY42" fmla="*/ 69665 h 152095"/>
              <a:gd name="connsiteX43" fmla="*/ 476154 w 771217"/>
              <a:gd name="connsiteY43" fmla="*/ 46290 h 152095"/>
              <a:gd name="connsiteX44" fmla="*/ 330522 w 771217"/>
              <a:gd name="connsiteY44" fmla="*/ 43829 h 152095"/>
              <a:gd name="connsiteX45" fmla="*/ 353822 w 771217"/>
              <a:gd name="connsiteY45" fmla="*/ 64283 h 152095"/>
              <a:gd name="connsiteX46" fmla="*/ 331139 w 771217"/>
              <a:gd name="connsiteY46" fmla="*/ 64129 h 152095"/>
              <a:gd name="connsiteX47" fmla="*/ 309382 w 771217"/>
              <a:gd name="connsiteY47" fmla="*/ 90580 h 152095"/>
              <a:gd name="connsiteX48" fmla="*/ 309382 w 771217"/>
              <a:gd name="connsiteY48" fmla="*/ 147481 h 152095"/>
              <a:gd name="connsiteX49" fmla="*/ 308179 w 771217"/>
              <a:gd name="connsiteY49" fmla="*/ 148711 h 152095"/>
              <a:gd name="connsiteX50" fmla="*/ 308148 w 771217"/>
              <a:gd name="connsiteY50" fmla="*/ 148711 h 152095"/>
              <a:gd name="connsiteX51" fmla="*/ 301821 w 771217"/>
              <a:gd name="connsiteY51" fmla="*/ 148711 h 152095"/>
              <a:gd name="connsiteX52" fmla="*/ 278367 w 771217"/>
              <a:gd name="connsiteY52" fmla="*/ 125366 h 152095"/>
              <a:gd name="connsiteX53" fmla="*/ 278367 w 771217"/>
              <a:gd name="connsiteY53" fmla="*/ 125336 h 152095"/>
              <a:gd name="connsiteX54" fmla="*/ 278367 w 771217"/>
              <a:gd name="connsiteY54" fmla="*/ 47674 h 152095"/>
              <a:gd name="connsiteX55" fmla="*/ 279601 w 771217"/>
              <a:gd name="connsiteY55" fmla="*/ 46443 h 152095"/>
              <a:gd name="connsiteX56" fmla="*/ 285928 w 771217"/>
              <a:gd name="connsiteY56" fmla="*/ 46443 h 152095"/>
              <a:gd name="connsiteX57" fmla="*/ 304907 w 771217"/>
              <a:gd name="connsiteY57" fmla="*/ 56132 h 152095"/>
              <a:gd name="connsiteX58" fmla="*/ 330522 w 771217"/>
              <a:gd name="connsiteY58" fmla="*/ 43829 h 152095"/>
              <a:gd name="connsiteX59" fmla="*/ 636817 w 771217"/>
              <a:gd name="connsiteY59" fmla="*/ 43676 h 152095"/>
              <a:gd name="connsiteX60" fmla="*/ 661043 w 771217"/>
              <a:gd name="connsiteY60" fmla="*/ 64130 h 152095"/>
              <a:gd name="connsiteX61" fmla="*/ 637434 w 771217"/>
              <a:gd name="connsiteY61" fmla="*/ 64130 h 152095"/>
              <a:gd name="connsiteX62" fmla="*/ 615677 w 771217"/>
              <a:gd name="connsiteY62" fmla="*/ 90581 h 152095"/>
              <a:gd name="connsiteX63" fmla="*/ 615677 w 771217"/>
              <a:gd name="connsiteY63" fmla="*/ 147481 h 152095"/>
              <a:gd name="connsiteX64" fmla="*/ 614473 w 771217"/>
              <a:gd name="connsiteY64" fmla="*/ 148712 h 152095"/>
              <a:gd name="connsiteX65" fmla="*/ 614443 w 771217"/>
              <a:gd name="connsiteY65" fmla="*/ 148712 h 152095"/>
              <a:gd name="connsiteX66" fmla="*/ 608270 w 771217"/>
              <a:gd name="connsiteY66" fmla="*/ 148712 h 152095"/>
              <a:gd name="connsiteX67" fmla="*/ 584816 w 771217"/>
              <a:gd name="connsiteY67" fmla="*/ 125367 h 152095"/>
              <a:gd name="connsiteX68" fmla="*/ 584816 w 771217"/>
              <a:gd name="connsiteY68" fmla="*/ 125336 h 152095"/>
              <a:gd name="connsiteX69" fmla="*/ 584816 w 771217"/>
              <a:gd name="connsiteY69" fmla="*/ 47674 h 152095"/>
              <a:gd name="connsiteX70" fmla="*/ 586050 w 771217"/>
              <a:gd name="connsiteY70" fmla="*/ 46444 h 152095"/>
              <a:gd name="connsiteX71" fmla="*/ 592377 w 771217"/>
              <a:gd name="connsiteY71" fmla="*/ 46444 h 152095"/>
              <a:gd name="connsiteX72" fmla="*/ 611202 w 771217"/>
              <a:gd name="connsiteY72" fmla="*/ 55979 h 152095"/>
              <a:gd name="connsiteX73" fmla="*/ 636817 w 771217"/>
              <a:gd name="connsiteY73" fmla="*/ 43676 h 152095"/>
              <a:gd name="connsiteX74" fmla="*/ 199054 w 771217"/>
              <a:gd name="connsiteY74" fmla="*/ 43061 h 152095"/>
              <a:gd name="connsiteX75" fmla="*/ 257227 w 771217"/>
              <a:gd name="connsiteY75" fmla="*/ 97501 h 152095"/>
              <a:gd name="connsiteX76" fmla="*/ 199054 w 771217"/>
              <a:gd name="connsiteY76" fmla="*/ 151941 h 152095"/>
              <a:gd name="connsiteX77" fmla="*/ 141190 w 771217"/>
              <a:gd name="connsiteY77" fmla="*/ 97655 h 152095"/>
              <a:gd name="connsiteX78" fmla="*/ 199054 w 771217"/>
              <a:gd name="connsiteY78" fmla="*/ 43061 h 152095"/>
              <a:gd name="connsiteX79" fmla="*/ 1203 w 771217"/>
              <a:gd name="connsiteY79" fmla="*/ 14764 h 152095"/>
              <a:gd name="connsiteX80" fmla="*/ 1235 w 771217"/>
              <a:gd name="connsiteY80" fmla="*/ 14764 h 152095"/>
              <a:gd name="connsiteX81" fmla="*/ 42125 w 771217"/>
              <a:gd name="connsiteY81" fmla="*/ 14764 h 152095"/>
              <a:gd name="connsiteX82" fmla="*/ 120667 w 771217"/>
              <a:gd name="connsiteY82" fmla="*/ 93809 h 152095"/>
              <a:gd name="connsiteX83" fmla="*/ 120667 w 771217"/>
              <a:gd name="connsiteY83" fmla="*/ 125336 h 152095"/>
              <a:gd name="connsiteX84" fmla="*/ 97490 w 771217"/>
              <a:gd name="connsiteY84" fmla="*/ 148711 h 152095"/>
              <a:gd name="connsiteX85" fmla="*/ 97367 w 771217"/>
              <a:gd name="connsiteY85" fmla="*/ 148711 h 152095"/>
              <a:gd name="connsiteX86" fmla="*/ 97058 w 771217"/>
              <a:gd name="connsiteY86" fmla="*/ 148711 h 152095"/>
              <a:gd name="connsiteX87" fmla="*/ 89497 w 771217"/>
              <a:gd name="connsiteY87" fmla="*/ 148711 h 152095"/>
              <a:gd name="connsiteX88" fmla="*/ 88263 w 771217"/>
              <a:gd name="connsiteY88" fmla="*/ 147512 h 152095"/>
              <a:gd name="connsiteX89" fmla="*/ 88263 w 771217"/>
              <a:gd name="connsiteY89" fmla="*/ 147481 h 152095"/>
              <a:gd name="connsiteX90" fmla="*/ 88263 w 771217"/>
              <a:gd name="connsiteY90" fmla="*/ 88888 h 152095"/>
              <a:gd name="connsiteX91" fmla="*/ 32250 w 771217"/>
              <a:gd name="connsiteY91" fmla="*/ 34294 h 152095"/>
              <a:gd name="connsiteX92" fmla="*/ 32250 w 771217"/>
              <a:gd name="connsiteY92" fmla="*/ 125182 h 152095"/>
              <a:gd name="connsiteX93" fmla="*/ 8826 w 771217"/>
              <a:gd name="connsiteY93" fmla="*/ 148557 h 152095"/>
              <a:gd name="connsiteX94" fmla="*/ 8795 w 771217"/>
              <a:gd name="connsiteY94" fmla="*/ 148557 h 152095"/>
              <a:gd name="connsiteX95" fmla="*/ 1235 w 771217"/>
              <a:gd name="connsiteY95" fmla="*/ 148557 h 152095"/>
              <a:gd name="connsiteX96" fmla="*/ 0 w 771217"/>
              <a:gd name="connsiteY96" fmla="*/ 147358 h 152095"/>
              <a:gd name="connsiteX97" fmla="*/ 0 w 771217"/>
              <a:gd name="connsiteY97" fmla="*/ 147327 h 152095"/>
              <a:gd name="connsiteX98" fmla="*/ 0 w 771217"/>
              <a:gd name="connsiteY98" fmla="*/ 15994 h 152095"/>
              <a:gd name="connsiteX99" fmla="*/ 1203 w 771217"/>
              <a:gd name="connsiteY99" fmla="*/ 14764 h 152095"/>
              <a:gd name="connsiteX100" fmla="*/ 411347 w 771217"/>
              <a:gd name="connsiteY100" fmla="*/ 0 h 152095"/>
              <a:gd name="connsiteX101" fmla="*/ 411378 w 771217"/>
              <a:gd name="connsiteY101" fmla="*/ 0 h 152095"/>
              <a:gd name="connsiteX102" fmla="*/ 417704 w 771217"/>
              <a:gd name="connsiteY102" fmla="*/ 0 h 152095"/>
              <a:gd name="connsiteX103" fmla="*/ 418939 w 771217"/>
              <a:gd name="connsiteY103" fmla="*/ 1230 h 152095"/>
              <a:gd name="connsiteX104" fmla="*/ 418939 w 771217"/>
              <a:gd name="connsiteY104" fmla="*/ 46290 h 152095"/>
              <a:gd name="connsiteX105" fmla="*/ 442702 w 771217"/>
              <a:gd name="connsiteY105" fmla="*/ 46290 h 152095"/>
              <a:gd name="connsiteX106" fmla="*/ 422796 w 771217"/>
              <a:gd name="connsiteY106" fmla="*/ 64282 h 152095"/>
              <a:gd name="connsiteX107" fmla="*/ 418784 w 771217"/>
              <a:gd name="connsiteY107" fmla="*/ 64282 h 152095"/>
              <a:gd name="connsiteX108" fmla="*/ 418784 w 771217"/>
              <a:gd name="connsiteY108" fmla="*/ 125335 h 152095"/>
              <a:gd name="connsiteX109" fmla="*/ 395361 w 771217"/>
              <a:gd name="connsiteY109" fmla="*/ 148711 h 152095"/>
              <a:gd name="connsiteX110" fmla="*/ 395330 w 771217"/>
              <a:gd name="connsiteY110" fmla="*/ 148711 h 152095"/>
              <a:gd name="connsiteX111" fmla="*/ 389158 w 771217"/>
              <a:gd name="connsiteY111" fmla="*/ 148711 h 152095"/>
              <a:gd name="connsiteX112" fmla="*/ 387923 w 771217"/>
              <a:gd name="connsiteY112" fmla="*/ 147512 h 152095"/>
              <a:gd name="connsiteX113" fmla="*/ 387923 w 771217"/>
              <a:gd name="connsiteY113" fmla="*/ 147481 h 152095"/>
              <a:gd name="connsiteX114" fmla="*/ 387923 w 771217"/>
              <a:gd name="connsiteY114" fmla="*/ 64282 h 152095"/>
              <a:gd name="connsiteX115" fmla="*/ 364006 w 771217"/>
              <a:gd name="connsiteY115" fmla="*/ 64282 h 152095"/>
              <a:gd name="connsiteX116" fmla="*/ 383911 w 771217"/>
              <a:gd name="connsiteY116" fmla="*/ 46443 h 152095"/>
              <a:gd name="connsiteX117" fmla="*/ 387923 w 771217"/>
              <a:gd name="connsiteY117" fmla="*/ 46443 h 152095"/>
              <a:gd name="connsiteX118" fmla="*/ 387923 w 771217"/>
              <a:gd name="connsiteY118" fmla="*/ 23375 h 152095"/>
              <a:gd name="connsiteX119" fmla="*/ 411347 w 771217"/>
              <a:gd name="connsiteY119" fmla="*/ 0 h 152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771217" h="152095">
                <a:moveTo>
                  <a:pt x="199054" y="61515"/>
                </a:moveTo>
                <a:cubicBezTo>
                  <a:pt x="185013" y="61515"/>
                  <a:pt x="173594" y="77663"/>
                  <a:pt x="173594" y="97655"/>
                </a:cubicBezTo>
                <a:cubicBezTo>
                  <a:pt x="173594" y="117647"/>
                  <a:pt x="185013" y="133795"/>
                  <a:pt x="199054" y="133795"/>
                </a:cubicBezTo>
                <a:cubicBezTo>
                  <a:pt x="213096" y="133795"/>
                  <a:pt x="224669" y="117647"/>
                  <a:pt x="224669" y="97655"/>
                </a:cubicBezTo>
                <a:cubicBezTo>
                  <a:pt x="224669" y="77663"/>
                  <a:pt x="213250" y="61515"/>
                  <a:pt x="199054" y="61515"/>
                </a:cubicBezTo>
                <a:close/>
                <a:moveTo>
                  <a:pt x="676473" y="46290"/>
                </a:moveTo>
                <a:lnTo>
                  <a:pt x="709032" y="46290"/>
                </a:lnTo>
                <a:cubicBezTo>
                  <a:pt x="752546" y="46290"/>
                  <a:pt x="771217" y="68128"/>
                  <a:pt x="771217" y="103345"/>
                </a:cubicBezTo>
                <a:lnTo>
                  <a:pt x="771217" y="147327"/>
                </a:lnTo>
                <a:cubicBezTo>
                  <a:pt x="771062" y="148096"/>
                  <a:pt x="770599" y="148711"/>
                  <a:pt x="769828" y="148711"/>
                </a:cubicBezTo>
                <a:lnTo>
                  <a:pt x="703477" y="148711"/>
                </a:lnTo>
                <a:cubicBezTo>
                  <a:pt x="681257" y="148711"/>
                  <a:pt x="664129" y="134563"/>
                  <a:pt x="664129" y="117185"/>
                </a:cubicBezTo>
                <a:cubicBezTo>
                  <a:pt x="664129" y="99807"/>
                  <a:pt x="681565" y="85813"/>
                  <a:pt x="705328" y="85813"/>
                </a:cubicBezTo>
                <a:lnTo>
                  <a:pt x="707952" y="85813"/>
                </a:lnTo>
                <a:cubicBezTo>
                  <a:pt x="718063" y="85552"/>
                  <a:pt x="726513" y="93426"/>
                  <a:pt x="726931" y="103498"/>
                </a:cubicBezTo>
                <a:lnTo>
                  <a:pt x="726931" y="104729"/>
                </a:lnTo>
                <a:lnTo>
                  <a:pt x="708415" y="104729"/>
                </a:lnTo>
                <a:cubicBezTo>
                  <a:pt x="701599" y="104557"/>
                  <a:pt x="695934" y="109924"/>
                  <a:pt x="695762" y="116716"/>
                </a:cubicBezTo>
                <a:cubicBezTo>
                  <a:pt x="695762" y="116719"/>
                  <a:pt x="695762" y="116721"/>
                  <a:pt x="695762" y="116724"/>
                </a:cubicBezTo>
                <a:lnTo>
                  <a:pt x="695762" y="117185"/>
                </a:lnTo>
                <a:cubicBezTo>
                  <a:pt x="695795" y="124136"/>
                  <a:pt x="701440" y="129762"/>
                  <a:pt x="708415" y="129796"/>
                </a:cubicBezTo>
                <a:lnTo>
                  <a:pt x="740664" y="129796"/>
                </a:lnTo>
                <a:lnTo>
                  <a:pt x="740664" y="99346"/>
                </a:lnTo>
                <a:cubicBezTo>
                  <a:pt x="740664" y="78585"/>
                  <a:pt x="729246" y="65821"/>
                  <a:pt x="707026" y="65821"/>
                </a:cubicBezTo>
                <a:lnTo>
                  <a:pt x="696224" y="65821"/>
                </a:lnTo>
                <a:cubicBezTo>
                  <a:pt x="685462" y="65966"/>
                  <a:pt x="676620" y="57388"/>
                  <a:pt x="676475" y="46662"/>
                </a:cubicBezTo>
                <a:cubicBezTo>
                  <a:pt x="676473" y="46640"/>
                  <a:pt x="676473" y="46619"/>
                  <a:pt x="676473" y="46598"/>
                </a:cubicBezTo>
                <a:close/>
                <a:moveTo>
                  <a:pt x="476154" y="46290"/>
                </a:moveTo>
                <a:cubicBezTo>
                  <a:pt x="476165" y="46290"/>
                  <a:pt x="476175" y="46290"/>
                  <a:pt x="476185" y="46290"/>
                </a:cubicBezTo>
                <a:lnTo>
                  <a:pt x="481740" y="46290"/>
                </a:lnTo>
                <a:cubicBezTo>
                  <a:pt x="482402" y="46334"/>
                  <a:pt x="482930" y="46860"/>
                  <a:pt x="482975" y="47520"/>
                </a:cubicBezTo>
                <a:lnTo>
                  <a:pt x="482975" y="107650"/>
                </a:lnTo>
                <a:cubicBezTo>
                  <a:pt x="482975" y="121645"/>
                  <a:pt x="492696" y="132256"/>
                  <a:pt x="504732" y="132256"/>
                </a:cubicBezTo>
                <a:cubicBezTo>
                  <a:pt x="516768" y="132256"/>
                  <a:pt x="526489" y="121491"/>
                  <a:pt x="526489" y="107650"/>
                </a:cubicBezTo>
                <a:lnTo>
                  <a:pt x="526489" y="69665"/>
                </a:lnTo>
                <a:cubicBezTo>
                  <a:pt x="526480" y="56764"/>
                  <a:pt x="536968" y="46298"/>
                  <a:pt x="549912" y="46290"/>
                </a:cubicBezTo>
                <a:cubicBezTo>
                  <a:pt x="549923" y="46290"/>
                  <a:pt x="549932" y="46290"/>
                  <a:pt x="549943" y="46290"/>
                </a:cubicBezTo>
                <a:lnTo>
                  <a:pt x="555498" y="46290"/>
                </a:lnTo>
                <a:cubicBezTo>
                  <a:pt x="556115" y="46136"/>
                  <a:pt x="556733" y="46751"/>
                  <a:pt x="556887" y="47366"/>
                </a:cubicBezTo>
                <a:lnTo>
                  <a:pt x="556887" y="105190"/>
                </a:lnTo>
                <a:cubicBezTo>
                  <a:pt x="557041" y="131795"/>
                  <a:pt x="533741" y="152095"/>
                  <a:pt x="504886" y="152095"/>
                </a:cubicBezTo>
                <a:cubicBezTo>
                  <a:pt x="476031" y="152095"/>
                  <a:pt x="452731" y="131641"/>
                  <a:pt x="452731" y="105344"/>
                </a:cubicBezTo>
                <a:lnTo>
                  <a:pt x="452731" y="69665"/>
                </a:lnTo>
                <a:cubicBezTo>
                  <a:pt x="452722" y="56764"/>
                  <a:pt x="463210" y="46298"/>
                  <a:pt x="476154" y="46290"/>
                </a:cubicBezTo>
                <a:close/>
                <a:moveTo>
                  <a:pt x="330522" y="43829"/>
                </a:moveTo>
                <a:cubicBezTo>
                  <a:pt x="347804" y="43829"/>
                  <a:pt x="353822" y="53210"/>
                  <a:pt x="353822" y="64283"/>
                </a:cubicBezTo>
                <a:lnTo>
                  <a:pt x="331139" y="64129"/>
                </a:lnTo>
                <a:cubicBezTo>
                  <a:pt x="313857" y="64129"/>
                  <a:pt x="309382" y="71664"/>
                  <a:pt x="309382" y="90580"/>
                </a:cubicBezTo>
                <a:lnTo>
                  <a:pt x="309382" y="147481"/>
                </a:lnTo>
                <a:cubicBezTo>
                  <a:pt x="309392" y="148152"/>
                  <a:pt x="308852" y="148702"/>
                  <a:pt x="308179" y="148711"/>
                </a:cubicBezTo>
                <a:cubicBezTo>
                  <a:pt x="308168" y="148711"/>
                  <a:pt x="308159" y="148711"/>
                  <a:pt x="308148" y="148711"/>
                </a:cubicBezTo>
                <a:lnTo>
                  <a:pt x="301821" y="148711"/>
                </a:lnTo>
                <a:cubicBezTo>
                  <a:pt x="288877" y="148719"/>
                  <a:pt x="278376" y="138268"/>
                  <a:pt x="278367" y="125366"/>
                </a:cubicBezTo>
                <a:cubicBezTo>
                  <a:pt x="278367" y="125356"/>
                  <a:pt x="278367" y="125346"/>
                  <a:pt x="278367" y="125336"/>
                </a:cubicBezTo>
                <a:lnTo>
                  <a:pt x="278367" y="47674"/>
                </a:lnTo>
                <a:cubicBezTo>
                  <a:pt x="278412" y="47014"/>
                  <a:pt x="278939" y="46488"/>
                  <a:pt x="279601" y="46443"/>
                </a:cubicBezTo>
                <a:lnTo>
                  <a:pt x="285928" y="46443"/>
                </a:lnTo>
                <a:cubicBezTo>
                  <a:pt x="293455" y="46421"/>
                  <a:pt x="300527" y="50031"/>
                  <a:pt x="304907" y="56132"/>
                </a:cubicBezTo>
                <a:cubicBezTo>
                  <a:pt x="311388" y="47827"/>
                  <a:pt x="316326" y="43829"/>
                  <a:pt x="330522" y="43829"/>
                </a:cubicBezTo>
                <a:close/>
                <a:moveTo>
                  <a:pt x="636817" y="43676"/>
                </a:moveTo>
                <a:cubicBezTo>
                  <a:pt x="654099" y="43676"/>
                  <a:pt x="661043" y="53057"/>
                  <a:pt x="661043" y="64130"/>
                </a:cubicBezTo>
                <a:lnTo>
                  <a:pt x="637434" y="64130"/>
                </a:lnTo>
                <a:cubicBezTo>
                  <a:pt x="620306" y="64130"/>
                  <a:pt x="615677" y="71665"/>
                  <a:pt x="615677" y="90581"/>
                </a:cubicBezTo>
                <a:lnTo>
                  <a:pt x="615677" y="147481"/>
                </a:lnTo>
                <a:cubicBezTo>
                  <a:pt x="615686" y="148152"/>
                  <a:pt x="615146" y="148703"/>
                  <a:pt x="614473" y="148712"/>
                </a:cubicBezTo>
                <a:cubicBezTo>
                  <a:pt x="614463" y="148712"/>
                  <a:pt x="614453" y="148712"/>
                  <a:pt x="614443" y="148712"/>
                </a:cubicBezTo>
                <a:lnTo>
                  <a:pt x="608270" y="148712"/>
                </a:lnTo>
                <a:cubicBezTo>
                  <a:pt x="595326" y="148720"/>
                  <a:pt x="584825" y="138268"/>
                  <a:pt x="584816" y="125367"/>
                </a:cubicBezTo>
                <a:cubicBezTo>
                  <a:pt x="584816" y="125357"/>
                  <a:pt x="584816" y="125347"/>
                  <a:pt x="584816" y="125336"/>
                </a:cubicBezTo>
                <a:lnTo>
                  <a:pt x="584816" y="47674"/>
                </a:lnTo>
                <a:cubicBezTo>
                  <a:pt x="584861" y="47014"/>
                  <a:pt x="585388" y="46489"/>
                  <a:pt x="586050" y="46444"/>
                </a:cubicBezTo>
                <a:lnTo>
                  <a:pt x="592377" y="46444"/>
                </a:lnTo>
                <a:cubicBezTo>
                  <a:pt x="599805" y="46502"/>
                  <a:pt x="606777" y="50033"/>
                  <a:pt x="611202" y="55979"/>
                </a:cubicBezTo>
                <a:cubicBezTo>
                  <a:pt x="617683" y="47674"/>
                  <a:pt x="622621" y="43676"/>
                  <a:pt x="636817" y="43676"/>
                </a:cubicBezTo>
                <a:close/>
                <a:moveTo>
                  <a:pt x="199054" y="43061"/>
                </a:moveTo>
                <a:cubicBezTo>
                  <a:pt x="231613" y="43061"/>
                  <a:pt x="257227" y="67667"/>
                  <a:pt x="257227" y="97501"/>
                </a:cubicBezTo>
                <a:cubicBezTo>
                  <a:pt x="257227" y="127336"/>
                  <a:pt x="231767" y="151941"/>
                  <a:pt x="199054" y="151941"/>
                </a:cubicBezTo>
                <a:cubicBezTo>
                  <a:pt x="166496" y="151941"/>
                  <a:pt x="141190" y="127643"/>
                  <a:pt x="141190" y="97655"/>
                </a:cubicBezTo>
                <a:cubicBezTo>
                  <a:pt x="141190" y="67667"/>
                  <a:pt x="166496" y="43061"/>
                  <a:pt x="199054" y="43061"/>
                </a:cubicBezTo>
                <a:close/>
                <a:moveTo>
                  <a:pt x="1203" y="14764"/>
                </a:moveTo>
                <a:cubicBezTo>
                  <a:pt x="1214" y="14763"/>
                  <a:pt x="1224" y="14763"/>
                  <a:pt x="1235" y="14764"/>
                </a:cubicBezTo>
                <a:lnTo>
                  <a:pt x="42125" y="14764"/>
                </a:lnTo>
                <a:cubicBezTo>
                  <a:pt x="87645" y="14610"/>
                  <a:pt x="120667" y="47674"/>
                  <a:pt x="120667" y="93809"/>
                </a:cubicBezTo>
                <a:lnTo>
                  <a:pt x="120667" y="125336"/>
                </a:lnTo>
                <a:cubicBezTo>
                  <a:pt x="120743" y="138169"/>
                  <a:pt x="110367" y="148634"/>
                  <a:pt x="97490" y="148711"/>
                </a:cubicBezTo>
                <a:cubicBezTo>
                  <a:pt x="97449" y="148711"/>
                  <a:pt x="97408" y="148711"/>
                  <a:pt x="97367" y="148711"/>
                </a:cubicBezTo>
                <a:lnTo>
                  <a:pt x="97058" y="148711"/>
                </a:lnTo>
                <a:lnTo>
                  <a:pt x="89497" y="148711"/>
                </a:lnTo>
                <a:cubicBezTo>
                  <a:pt x="88824" y="148720"/>
                  <a:pt x="88271" y="148183"/>
                  <a:pt x="88263" y="147512"/>
                </a:cubicBezTo>
                <a:cubicBezTo>
                  <a:pt x="88262" y="147501"/>
                  <a:pt x="88262" y="147491"/>
                  <a:pt x="88263" y="147481"/>
                </a:cubicBezTo>
                <a:lnTo>
                  <a:pt x="88263" y="88888"/>
                </a:lnTo>
                <a:cubicBezTo>
                  <a:pt x="88263" y="56901"/>
                  <a:pt x="68666" y="34294"/>
                  <a:pt x="32250" y="34294"/>
                </a:cubicBezTo>
                <a:lnTo>
                  <a:pt x="32250" y="125182"/>
                </a:lnTo>
                <a:cubicBezTo>
                  <a:pt x="32258" y="138083"/>
                  <a:pt x="21771" y="148549"/>
                  <a:pt x="8826" y="148557"/>
                </a:cubicBezTo>
                <a:cubicBezTo>
                  <a:pt x="8816" y="148557"/>
                  <a:pt x="8806" y="148557"/>
                  <a:pt x="8795" y="148557"/>
                </a:cubicBezTo>
                <a:lnTo>
                  <a:pt x="1235" y="148557"/>
                </a:lnTo>
                <a:cubicBezTo>
                  <a:pt x="561" y="148566"/>
                  <a:pt x="9" y="148029"/>
                  <a:pt x="0" y="147358"/>
                </a:cubicBezTo>
                <a:cubicBezTo>
                  <a:pt x="0" y="147348"/>
                  <a:pt x="0" y="147337"/>
                  <a:pt x="0" y="147327"/>
                </a:cubicBezTo>
                <a:lnTo>
                  <a:pt x="0" y="15994"/>
                </a:lnTo>
                <a:cubicBezTo>
                  <a:pt x="-8" y="15323"/>
                  <a:pt x="530" y="14772"/>
                  <a:pt x="1203" y="14764"/>
                </a:cubicBezTo>
                <a:close/>
                <a:moveTo>
                  <a:pt x="411347" y="0"/>
                </a:moveTo>
                <a:cubicBezTo>
                  <a:pt x="411358" y="0"/>
                  <a:pt x="411367" y="0"/>
                  <a:pt x="411378" y="0"/>
                </a:cubicBezTo>
                <a:lnTo>
                  <a:pt x="417704" y="0"/>
                </a:lnTo>
                <a:cubicBezTo>
                  <a:pt x="418366" y="45"/>
                  <a:pt x="418894" y="570"/>
                  <a:pt x="418939" y="1230"/>
                </a:cubicBezTo>
                <a:lnTo>
                  <a:pt x="418939" y="46290"/>
                </a:lnTo>
                <a:lnTo>
                  <a:pt x="442702" y="46290"/>
                </a:lnTo>
                <a:cubicBezTo>
                  <a:pt x="442702" y="57362"/>
                  <a:pt x="433752" y="64282"/>
                  <a:pt x="422796" y="64282"/>
                </a:cubicBezTo>
                <a:lnTo>
                  <a:pt x="418784" y="64282"/>
                </a:lnTo>
                <a:lnTo>
                  <a:pt x="418784" y="125335"/>
                </a:lnTo>
                <a:cubicBezTo>
                  <a:pt x="418794" y="138237"/>
                  <a:pt x="408305" y="148702"/>
                  <a:pt x="395361" y="148711"/>
                </a:cubicBezTo>
                <a:cubicBezTo>
                  <a:pt x="395350" y="148711"/>
                  <a:pt x="395341" y="148711"/>
                  <a:pt x="395330" y="148711"/>
                </a:cubicBezTo>
                <a:lnTo>
                  <a:pt x="389158" y="148711"/>
                </a:lnTo>
                <a:cubicBezTo>
                  <a:pt x="388485" y="148720"/>
                  <a:pt x="387933" y="148183"/>
                  <a:pt x="387923" y="147512"/>
                </a:cubicBezTo>
                <a:cubicBezTo>
                  <a:pt x="387923" y="147501"/>
                  <a:pt x="387923" y="147491"/>
                  <a:pt x="387923" y="147481"/>
                </a:cubicBezTo>
                <a:lnTo>
                  <a:pt x="387923" y="64282"/>
                </a:lnTo>
                <a:lnTo>
                  <a:pt x="364006" y="64282"/>
                </a:lnTo>
                <a:cubicBezTo>
                  <a:pt x="364006" y="53364"/>
                  <a:pt x="372801" y="46443"/>
                  <a:pt x="383911" y="46443"/>
                </a:cubicBezTo>
                <a:lnTo>
                  <a:pt x="387923" y="46443"/>
                </a:lnTo>
                <a:lnTo>
                  <a:pt x="387923" y="23375"/>
                </a:lnTo>
                <a:cubicBezTo>
                  <a:pt x="387914" y="10474"/>
                  <a:pt x="398402" y="9"/>
                  <a:pt x="411347" y="0"/>
                </a:cubicBezTo>
                <a:close/>
              </a:path>
            </a:pathLst>
          </a:custGeom>
          <a:solidFill>
            <a:srgbClr val="004411"/>
          </a:solidFill>
          <a:ln w="1543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D5E261A5-61DA-5C4A-9F04-369DB5573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457200"/>
            <a:ext cx="9070331" cy="82790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83819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: Title placeholder + content placeholder + image placehol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292D2D2E-3EE8-304E-8895-72A082A929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0"/>
            <a:ext cx="6096000" cy="6857999"/>
          </a:xfrm>
          <a:custGeom>
            <a:avLst/>
            <a:gdLst>
              <a:gd name="connsiteX0" fmla="*/ 5174278 w 6096000"/>
              <a:gd name="connsiteY0" fmla="*/ 6415833 h 6857999"/>
              <a:gd name="connsiteX1" fmla="*/ 5199893 w 6096000"/>
              <a:gd name="connsiteY1" fmla="*/ 6451973 h 6857999"/>
              <a:gd name="connsiteX2" fmla="*/ 5174278 w 6096000"/>
              <a:gd name="connsiteY2" fmla="*/ 6488113 h 6857999"/>
              <a:gd name="connsiteX3" fmla="*/ 5148818 w 6096000"/>
              <a:gd name="connsiteY3" fmla="*/ 6451973 h 6857999"/>
              <a:gd name="connsiteX4" fmla="*/ 5174278 w 6096000"/>
              <a:gd name="connsiteY4" fmla="*/ 6415833 h 6857999"/>
              <a:gd name="connsiteX5" fmla="*/ 5651697 w 6096000"/>
              <a:gd name="connsiteY5" fmla="*/ 6400608 h 6857999"/>
              <a:gd name="connsiteX6" fmla="*/ 5651697 w 6096000"/>
              <a:gd name="connsiteY6" fmla="*/ 6400916 h 6857999"/>
              <a:gd name="connsiteX7" fmla="*/ 5651699 w 6096000"/>
              <a:gd name="connsiteY7" fmla="*/ 6400980 h 6857999"/>
              <a:gd name="connsiteX8" fmla="*/ 5671448 w 6096000"/>
              <a:gd name="connsiteY8" fmla="*/ 6420139 h 6857999"/>
              <a:gd name="connsiteX9" fmla="*/ 5682250 w 6096000"/>
              <a:gd name="connsiteY9" fmla="*/ 6420139 h 6857999"/>
              <a:gd name="connsiteX10" fmla="*/ 5715888 w 6096000"/>
              <a:gd name="connsiteY10" fmla="*/ 6453664 h 6857999"/>
              <a:gd name="connsiteX11" fmla="*/ 5715888 w 6096000"/>
              <a:gd name="connsiteY11" fmla="*/ 6484114 h 6857999"/>
              <a:gd name="connsiteX12" fmla="*/ 5683639 w 6096000"/>
              <a:gd name="connsiteY12" fmla="*/ 6484114 h 6857999"/>
              <a:gd name="connsiteX13" fmla="*/ 5670986 w 6096000"/>
              <a:gd name="connsiteY13" fmla="*/ 6471503 h 6857999"/>
              <a:gd name="connsiteX14" fmla="*/ 5670986 w 6096000"/>
              <a:gd name="connsiteY14" fmla="*/ 6471042 h 6857999"/>
              <a:gd name="connsiteX15" fmla="*/ 5670986 w 6096000"/>
              <a:gd name="connsiteY15" fmla="*/ 6471034 h 6857999"/>
              <a:gd name="connsiteX16" fmla="*/ 5683639 w 6096000"/>
              <a:gd name="connsiteY16" fmla="*/ 6459047 h 6857999"/>
              <a:gd name="connsiteX17" fmla="*/ 5702155 w 6096000"/>
              <a:gd name="connsiteY17" fmla="*/ 6459047 h 6857999"/>
              <a:gd name="connsiteX18" fmla="*/ 5702155 w 6096000"/>
              <a:gd name="connsiteY18" fmla="*/ 6457816 h 6857999"/>
              <a:gd name="connsiteX19" fmla="*/ 5683176 w 6096000"/>
              <a:gd name="connsiteY19" fmla="*/ 6440131 h 6857999"/>
              <a:gd name="connsiteX20" fmla="*/ 5680552 w 6096000"/>
              <a:gd name="connsiteY20" fmla="*/ 6440131 h 6857999"/>
              <a:gd name="connsiteX21" fmla="*/ 5639353 w 6096000"/>
              <a:gd name="connsiteY21" fmla="*/ 6471503 h 6857999"/>
              <a:gd name="connsiteX22" fmla="*/ 5678701 w 6096000"/>
              <a:gd name="connsiteY22" fmla="*/ 6503029 h 6857999"/>
              <a:gd name="connsiteX23" fmla="*/ 5745052 w 6096000"/>
              <a:gd name="connsiteY23" fmla="*/ 6503029 h 6857999"/>
              <a:gd name="connsiteX24" fmla="*/ 5746441 w 6096000"/>
              <a:gd name="connsiteY24" fmla="*/ 6501645 h 6857999"/>
              <a:gd name="connsiteX25" fmla="*/ 5746441 w 6096000"/>
              <a:gd name="connsiteY25" fmla="*/ 6457663 h 6857999"/>
              <a:gd name="connsiteX26" fmla="*/ 5684256 w 6096000"/>
              <a:gd name="connsiteY26" fmla="*/ 6400608 h 6857999"/>
              <a:gd name="connsiteX27" fmla="*/ 5451378 w 6096000"/>
              <a:gd name="connsiteY27" fmla="*/ 6400608 h 6857999"/>
              <a:gd name="connsiteX28" fmla="*/ 5427955 w 6096000"/>
              <a:gd name="connsiteY28" fmla="*/ 6423983 h 6857999"/>
              <a:gd name="connsiteX29" fmla="*/ 5427955 w 6096000"/>
              <a:gd name="connsiteY29" fmla="*/ 6459662 h 6857999"/>
              <a:gd name="connsiteX30" fmla="*/ 5480110 w 6096000"/>
              <a:gd name="connsiteY30" fmla="*/ 6506413 h 6857999"/>
              <a:gd name="connsiteX31" fmla="*/ 5532111 w 6096000"/>
              <a:gd name="connsiteY31" fmla="*/ 6459508 h 6857999"/>
              <a:gd name="connsiteX32" fmla="*/ 5532111 w 6096000"/>
              <a:gd name="connsiteY32" fmla="*/ 6401684 h 6857999"/>
              <a:gd name="connsiteX33" fmla="*/ 5530722 w 6096000"/>
              <a:gd name="connsiteY33" fmla="*/ 6400608 h 6857999"/>
              <a:gd name="connsiteX34" fmla="*/ 5525167 w 6096000"/>
              <a:gd name="connsiteY34" fmla="*/ 6400608 h 6857999"/>
              <a:gd name="connsiteX35" fmla="*/ 5525136 w 6096000"/>
              <a:gd name="connsiteY35" fmla="*/ 6400608 h 6857999"/>
              <a:gd name="connsiteX36" fmla="*/ 5501713 w 6096000"/>
              <a:gd name="connsiteY36" fmla="*/ 6423983 h 6857999"/>
              <a:gd name="connsiteX37" fmla="*/ 5501713 w 6096000"/>
              <a:gd name="connsiteY37" fmla="*/ 6461968 h 6857999"/>
              <a:gd name="connsiteX38" fmla="*/ 5479956 w 6096000"/>
              <a:gd name="connsiteY38" fmla="*/ 6486574 h 6857999"/>
              <a:gd name="connsiteX39" fmla="*/ 5458199 w 6096000"/>
              <a:gd name="connsiteY39" fmla="*/ 6461968 h 6857999"/>
              <a:gd name="connsiteX40" fmla="*/ 5458199 w 6096000"/>
              <a:gd name="connsiteY40" fmla="*/ 6401838 h 6857999"/>
              <a:gd name="connsiteX41" fmla="*/ 5456964 w 6096000"/>
              <a:gd name="connsiteY41" fmla="*/ 6400608 h 6857999"/>
              <a:gd name="connsiteX42" fmla="*/ 5451409 w 6096000"/>
              <a:gd name="connsiteY42" fmla="*/ 6400608 h 6857999"/>
              <a:gd name="connsiteX43" fmla="*/ 5451378 w 6096000"/>
              <a:gd name="connsiteY43" fmla="*/ 6400608 h 6857999"/>
              <a:gd name="connsiteX44" fmla="*/ 5305746 w 6096000"/>
              <a:gd name="connsiteY44" fmla="*/ 6398147 h 6857999"/>
              <a:gd name="connsiteX45" fmla="*/ 5280131 w 6096000"/>
              <a:gd name="connsiteY45" fmla="*/ 6410450 h 6857999"/>
              <a:gd name="connsiteX46" fmla="*/ 5261152 w 6096000"/>
              <a:gd name="connsiteY46" fmla="*/ 6400761 h 6857999"/>
              <a:gd name="connsiteX47" fmla="*/ 5254825 w 6096000"/>
              <a:gd name="connsiteY47" fmla="*/ 6400761 h 6857999"/>
              <a:gd name="connsiteX48" fmla="*/ 5253591 w 6096000"/>
              <a:gd name="connsiteY48" fmla="*/ 6401992 h 6857999"/>
              <a:gd name="connsiteX49" fmla="*/ 5253591 w 6096000"/>
              <a:gd name="connsiteY49" fmla="*/ 6479654 h 6857999"/>
              <a:gd name="connsiteX50" fmla="*/ 5253591 w 6096000"/>
              <a:gd name="connsiteY50" fmla="*/ 6479684 h 6857999"/>
              <a:gd name="connsiteX51" fmla="*/ 5277045 w 6096000"/>
              <a:gd name="connsiteY51" fmla="*/ 6503029 h 6857999"/>
              <a:gd name="connsiteX52" fmla="*/ 5283372 w 6096000"/>
              <a:gd name="connsiteY52" fmla="*/ 6503029 h 6857999"/>
              <a:gd name="connsiteX53" fmla="*/ 5283403 w 6096000"/>
              <a:gd name="connsiteY53" fmla="*/ 6503029 h 6857999"/>
              <a:gd name="connsiteX54" fmla="*/ 5284606 w 6096000"/>
              <a:gd name="connsiteY54" fmla="*/ 6501799 h 6857999"/>
              <a:gd name="connsiteX55" fmla="*/ 5284606 w 6096000"/>
              <a:gd name="connsiteY55" fmla="*/ 6444898 h 6857999"/>
              <a:gd name="connsiteX56" fmla="*/ 5306363 w 6096000"/>
              <a:gd name="connsiteY56" fmla="*/ 6418447 h 6857999"/>
              <a:gd name="connsiteX57" fmla="*/ 5329046 w 6096000"/>
              <a:gd name="connsiteY57" fmla="*/ 6418601 h 6857999"/>
              <a:gd name="connsiteX58" fmla="*/ 5305746 w 6096000"/>
              <a:gd name="connsiteY58" fmla="*/ 6398147 h 6857999"/>
              <a:gd name="connsiteX59" fmla="*/ 5612041 w 6096000"/>
              <a:gd name="connsiteY59" fmla="*/ 6397994 h 6857999"/>
              <a:gd name="connsiteX60" fmla="*/ 5586426 w 6096000"/>
              <a:gd name="connsiteY60" fmla="*/ 6410297 h 6857999"/>
              <a:gd name="connsiteX61" fmla="*/ 5567601 w 6096000"/>
              <a:gd name="connsiteY61" fmla="*/ 6400762 h 6857999"/>
              <a:gd name="connsiteX62" fmla="*/ 5561274 w 6096000"/>
              <a:gd name="connsiteY62" fmla="*/ 6400762 h 6857999"/>
              <a:gd name="connsiteX63" fmla="*/ 5560040 w 6096000"/>
              <a:gd name="connsiteY63" fmla="*/ 6401992 h 6857999"/>
              <a:gd name="connsiteX64" fmla="*/ 5560040 w 6096000"/>
              <a:gd name="connsiteY64" fmla="*/ 6479654 h 6857999"/>
              <a:gd name="connsiteX65" fmla="*/ 5560040 w 6096000"/>
              <a:gd name="connsiteY65" fmla="*/ 6479685 h 6857999"/>
              <a:gd name="connsiteX66" fmla="*/ 5583494 w 6096000"/>
              <a:gd name="connsiteY66" fmla="*/ 6503030 h 6857999"/>
              <a:gd name="connsiteX67" fmla="*/ 5589667 w 6096000"/>
              <a:gd name="connsiteY67" fmla="*/ 6503030 h 6857999"/>
              <a:gd name="connsiteX68" fmla="*/ 5589697 w 6096000"/>
              <a:gd name="connsiteY68" fmla="*/ 6503030 h 6857999"/>
              <a:gd name="connsiteX69" fmla="*/ 5590901 w 6096000"/>
              <a:gd name="connsiteY69" fmla="*/ 6501799 h 6857999"/>
              <a:gd name="connsiteX70" fmla="*/ 5590901 w 6096000"/>
              <a:gd name="connsiteY70" fmla="*/ 6444899 h 6857999"/>
              <a:gd name="connsiteX71" fmla="*/ 5612658 w 6096000"/>
              <a:gd name="connsiteY71" fmla="*/ 6418448 h 6857999"/>
              <a:gd name="connsiteX72" fmla="*/ 5636267 w 6096000"/>
              <a:gd name="connsiteY72" fmla="*/ 6418448 h 6857999"/>
              <a:gd name="connsiteX73" fmla="*/ 5612041 w 6096000"/>
              <a:gd name="connsiteY73" fmla="*/ 6397994 h 6857999"/>
              <a:gd name="connsiteX74" fmla="*/ 5174278 w 6096000"/>
              <a:gd name="connsiteY74" fmla="*/ 6397379 h 6857999"/>
              <a:gd name="connsiteX75" fmla="*/ 5116414 w 6096000"/>
              <a:gd name="connsiteY75" fmla="*/ 6451973 h 6857999"/>
              <a:gd name="connsiteX76" fmla="*/ 5174278 w 6096000"/>
              <a:gd name="connsiteY76" fmla="*/ 6506259 h 6857999"/>
              <a:gd name="connsiteX77" fmla="*/ 5232451 w 6096000"/>
              <a:gd name="connsiteY77" fmla="*/ 6451819 h 6857999"/>
              <a:gd name="connsiteX78" fmla="*/ 5174278 w 6096000"/>
              <a:gd name="connsiteY78" fmla="*/ 6397379 h 6857999"/>
              <a:gd name="connsiteX79" fmla="*/ 4976427 w 6096000"/>
              <a:gd name="connsiteY79" fmla="*/ 6369082 h 6857999"/>
              <a:gd name="connsiteX80" fmla="*/ 4975224 w 6096000"/>
              <a:gd name="connsiteY80" fmla="*/ 6370312 h 6857999"/>
              <a:gd name="connsiteX81" fmla="*/ 4975224 w 6096000"/>
              <a:gd name="connsiteY81" fmla="*/ 6501645 h 6857999"/>
              <a:gd name="connsiteX82" fmla="*/ 4975224 w 6096000"/>
              <a:gd name="connsiteY82" fmla="*/ 6501676 h 6857999"/>
              <a:gd name="connsiteX83" fmla="*/ 4976459 w 6096000"/>
              <a:gd name="connsiteY83" fmla="*/ 6502875 h 6857999"/>
              <a:gd name="connsiteX84" fmla="*/ 4984019 w 6096000"/>
              <a:gd name="connsiteY84" fmla="*/ 6502875 h 6857999"/>
              <a:gd name="connsiteX85" fmla="*/ 4984050 w 6096000"/>
              <a:gd name="connsiteY85" fmla="*/ 6502875 h 6857999"/>
              <a:gd name="connsiteX86" fmla="*/ 5007474 w 6096000"/>
              <a:gd name="connsiteY86" fmla="*/ 6479500 h 6857999"/>
              <a:gd name="connsiteX87" fmla="*/ 5007474 w 6096000"/>
              <a:gd name="connsiteY87" fmla="*/ 6388612 h 6857999"/>
              <a:gd name="connsiteX88" fmla="*/ 5063487 w 6096000"/>
              <a:gd name="connsiteY88" fmla="*/ 6443206 h 6857999"/>
              <a:gd name="connsiteX89" fmla="*/ 5063487 w 6096000"/>
              <a:gd name="connsiteY89" fmla="*/ 6501799 h 6857999"/>
              <a:gd name="connsiteX90" fmla="*/ 5063487 w 6096000"/>
              <a:gd name="connsiteY90" fmla="*/ 6501830 h 6857999"/>
              <a:gd name="connsiteX91" fmla="*/ 5064721 w 6096000"/>
              <a:gd name="connsiteY91" fmla="*/ 6503029 h 6857999"/>
              <a:gd name="connsiteX92" fmla="*/ 5072282 w 6096000"/>
              <a:gd name="connsiteY92" fmla="*/ 6503029 h 6857999"/>
              <a:gd name="connsiteX93" fmla="*/ 5072591 w 6096000"/>
              <a:gd name="connsiteY93" fmla="*/ 6503029 h 6857999"/>
              <a:gd name="connsiteX94" fmla="*/ 5072714 w 6096000"/>
              <a:gd name="connsiteY94" fmla="*/ 6503029 h 6857999"/>
              <a:gd name="connsiteX95" fmla="*/ 5095891 w 6096000"/>
              <a:gd name="connsiteY95" fmla="*/ 6479654 h 6857999"/>
              <a:gd name="connsiteX96" fmla="*/ 5095891 w 6096000"/>
              <a:gd name="connsiteY96" fmla="*/ 6448127 h 6857999"/>
              <a:gd name="connsiteX97" fmla="*/ 5017349 w 6096000"/>
              <a:gd name="connsiteY97" fmla="*/ 6369082 h 6857999"/>
              <a:gd name="connsiteX98" fmla="*/ 4976459 w 6096000"/>
              <a:gd name="connsiteY98" fmla="*/ 6369082 h 6857999"/>
              <a:gd name="connsiteX99" fmla="*/ 4976427 w 6096000"/>
              <a:gd name="connsiteY99" fmla="*/ 6369082 h 6857999"/>
              <a:gd name="connsiteX100" fmla="*/ 5386571 w 6096000"/>
              <a:gd name="connsiteY100" fmla="*/ 6354318 h 6857999"/>
              <a:gd name="connsiteX101" fmla="*/ 5363147 w 6096000"/>
              <a:gd name="connsiteY101" fmla="*/ 6377693 h 6857999"/>
              <a:gd name="connsiteX102" fmla="*/ 5363147 w 6096000"/>
              <a:gd name="connsiteY102" fmla="*/ 6400761 h 6857999"/>
              <a:gd name="connsiteX103" fmla="*/ 5359135 w 6096000"/>
              <a:gd name="connsiteY103" fmla="*/ 6400761 h 6857999"/>
              <a:gd name="connsiteX104" fmla="*/ 5339230 w 6096000"/>
              <a:gd name="connsiteY104" fmla="*/ 6418600 h 6857999"/>
              <a:gd name="connsiteX105" fmla="*/ 5363147 w 6096000"/>
              <a:gd name="connsiteY105" fmla="*/ 6418600 h 6857999"/>
              <a:gd name="connsiteX106" fmla="*/ 5363147 w 6096000"/>
              <a:gd name="connsiteY106" fmla="*/ 6501799 h 6857999"/>
              <a:gd name="connsiteX107" fmla="*/ 5363147 w 6096000"/>
              <a:gd name="connsiteY107" fmla="*/ 6501830 h 6857999"/>
              <a:gd name="connsiteX108" fmla="*/ 5364382 w 6096000"/>
              <a:gd name="connsiteY108" fmla="*/ 6503029 h 6857999"/>
              <a:gd name="connsiteX109" fmla="*/ 5370554 w 6096000"/>
              <a:gd name="connsiteY109" fmla="*/ 6503029 h 6857999"/>
              <a:gd name="connsiteX110" fmla="*/ 5370585 w 6096000"/>
              <a:gd name="connsiteY110" fmla="*/ 6503029 h 6857999"/>
              <a:gd name="connsiteX111" fmla="*/ 5394008 w 6096000"/>
              <a:gd name="connsiteY111" fmla="*/ 6479653 h 6857999"/>
              <a:gd name="connsiteX112" fmla="*/ 5394008 w 6096000"/>
              <a:gd name="connsiteY112" fmla="*/ 6418600 h 6857999"/>
              <a:gd name="connsiteX113" fmla="*/ 5398020 w 6096000"/>
              <a:gd name="connsiteY113" fmla="*/ 6418600 h 6857999"/>
              <a:gd name="connsiteX114" fmla="*/ 5417926 w 6096000"/>
              <a:gd name="connsiteY114" fmla="*/ 6400608 h 6857999"/>
              <a:gd name="connsiteX115" fmla="*/ 5394163 w 6096000"/>
              <a:gd name="connsiteY115" fmla="*/ 6400608 h 6857999"/>
              <a:gd name="connsiteX116" fmla="*/ 5394163 w 6096000"/>
              <a:gd name="connsiteY116" fmla="*/ 6355548 h 6857999"/>
              <a:gd name="connsiteX117" fmla="*/ 5392928 w 6096000"/>
              <a:gd name="connsiteY117" fmla="*/ 6354318 h 6857999"/>
              <a:gd name="connsiteX118" fmla="*/ 5386602 w 6096000"/>
              <a:gd name="connsiteY118" fmla="*/ 6354318 h 6857999"/>
              <a:gd name="connsiteX119" fmla="*/ 5386571 w 6096000"/>
              <a:gd name="connsiteY119" fmla="*/ 6354318 h 6857999"/>
              <a:gd name="connsiteX120" fmla="*/ 0 w 6096000"/>
              <a:gd name="connsiteY120" fmla="*/ 0 h 6857999"/>
              <a:gd name="connsiteX121" fmla="*/ 6096000 w 6096000"/>
              <a:gd name="connsiteY121" fmla="*/ 0 h 6857999"/>
              <a:gd name="connsiteX122" fmla="*/ 6096000 w 6096000"/>
              <a:gd name="connsiteY122" fmla="*/ 6857999 h 6857999"/>
              <a:gd name="connsiteX123" fmla="*/ 0 w 6096000"/>
              <a:gd name="connsiteY12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6096000" h="6857999">
                <a:moveTo>
                  <a:pt x="5174278" y="6415833"/>
                </a:moveTo>
                <a:cubicBezTo>
                  <a:pt x="5188474" y="6415833"/>
                  <a:pt x="5199893" y="6431981"/>
                  <a:pt x="5199893" y="6451973"/>
                </a:cubicBezTo>
                <a:cubicBezTo>
                  <a:pt x="5199893" y="6471965"/>
                  <a:pt x="5188320" y="6488113"/>
                  <a:pt x="5174278" y="6488113"/>
                </a:cubicBezTo>
                <a:cubicBezTo>
                  <a:pt x="5160237" y="6488113"/>
                  <a:pt x="5148818" y="6471965"/>
                  <a:pt x="5148818" y="6451973"/>
                </a:cubicBezTo>
                <a:cubicBezTo>
                  <a:pt x="5148818" y="6431981"/>
                  <a:pt x="5160237" y="6415833"/>
                  <a:pt x="5174278" y="6415833"/>
                </a:cubicBezTo>
                <a:close/>
                <a:moveTo>
                  <a:pt x="5651697" y="6400608"/>
                </a:moveTo>
                <a:lnTo>
                  <a:pt x="5651697" y="6400916"/>
                </a:lnTo>
                <a:cubicBezTo>
                  <a:pt x="5651697" y="6400937"/>
                  <a:pt x="5651697" y="6400958"/>
                  <a:pt x="5651699" y="6400980"/>
                </a:cubicBezTo>
                <a:cubicBezTo>
                  <a:pt x="5651844" y="6411706"/>
                  <a:pt x="5660686" y="6420284"/>
                  <a:pt x="5671448" y="6420139"/>
                </a:cubicBezTo>
                <a:lnTo>
                  <a:pt x="5682250" y="6420139"/>
                </a:lnTo>
                <a:cubicBezTo>
                  <a:pt x="5704470" y="6420139"/>
                  <a:pt x="5715888" y="6432903"/>
                  <a:pt x="5715888" y="6453664"/>
                </a:cubicBezTo>
                <a:lnTo>
                  <a:pt x="5715888" y="6484114"/>
                </a:lnTo>
                <a:lnTo>
                  <a:pt x="5683639" y="6484114"/>
                </a:lnTo>
                <a:cubicBezTo>
                  <a:pt x="5676664" y="6484080"/>
                  <a:pt x="5671019" y="6478454"/>
                  <a:pt x="5670986" y="6471503"/>
                </a:cubicBezTo>
                <a:lnTo>
                  <a:pt x="5670986" y="6471042"/>
                </a:lnTo>
                <a:cubicBezTo>
                  <a:pt x="5670986" y="6471039"/>
                  <a:pt x="5670986" y="6471037"/>
                  <a:pt x="5670986" y="6471034"/>
                </a:cubicBezTo>
                <a:cubicBezTo>
                  <a:pt x="5671158" y="6464242"/>
                  <a:pt x="5676823" y="6458875"/>
                  <a:pt x="5683639" y="6459047"/>
                </a:cubicBezTo>
                <a:lnTo>
                  <a:pt x="5702155" y="6459047"/>
                </a:lnTo>
                <a:lnTo>
                  <a:pt x="5702155" y="6457816"/>
                </a:lnTo>
                <a:cubicBezTo>
                  <a:pt x="5701737" y="6447744"/>
                  <a:pt x="5693287" y="6439870"/>
                  <a:pt x="5683176" y="6440131"/>
                </a:cubicBezTo>
                <a:lnTo>
                  <a:pt x="5680552" y="6440131"/>
                </a:lnTo>
                <a:cubicBezTo>
                  <a:pt x="5656789" y="6440131"/>
                  <a:pt x="5639353" y="6454125"/>
                  <a:pt x="5639353" y="6471503"/>
                </a:cubicBezTo>
                <a:cubicBezTo>
                  <a:pt x="5639353" y="6488881"/>
                  <a:pt x="5656481" y="6503029"/>
                  <a:pt x="5678701" y="6503029"/>
                </a:cubicBezTo>
                <a:lnTo>
                  <a:pt x="5745052" y="6503029"/>
                </a:lnTo>
                <a:cubicBezTo>
                  <a:pt x="5745823" y="6503029"/>
                  <a:pt x="5746286" y="6502414"/>
                  <a:pt x="5746441" y="6501645"/>
                </a:cubicBezTo>
                <a:lnTo>
                  <a:pt x="5746441" y="6457663"/>
                </a:lnTo>
                <a:cubicBezTo>
                  <a:pt x="5746441" y="6422446"/>
                  <a:pt x="5727770" y="6400608"/>
                  <a:pt x="5684256" y="6400608"/>
                </a:cubicBezTo>
                <a:close/>
                <a:moveTo>
                  <a:pt x="5451378" y="6400608"/>
                </a:moveTo>
                <a:cubicBezTo>
                  <a:pt x="5438434" y="6400616"/>
                  <a:pt x="5427946" y="6411082"/>
                  <a:pt x="5427955" y="6423983"/>
                </a:cubicBezTo>
                <a:lnTo>
                  <a:pt x="5427955" y="6459662"/>
                </a:lnTo>
                <a:cubicBezTo>
                  <a:pt x="5427955" y="6485959"/>
                  <a:pt x="5451255" y="6506413"/>
                  <a:pt x="5480110" y="6506413"/>
                </a:cubicBezTo>
                <a:cubicBezTo>
                  <a:pt x="5508965" y="6506413"/>
                  <a:pt x="5532265" y="6486113"/>
                  <a:pt x="5532111" y="6459508"/>
                </a:cubicBezTo>
                <a:lnTo>
                  <a:pt x="5532111" y="6401684"/>
                </a:lnTo>
                <a:cubicBezTo>
                  <a:pt x="5531957" y="6401069"/>
                  <a:pt x="5531339" y="6400454"/>
                  <a:pt x="5530722" y="6400608"/>
                </a:cubicBezTo>
                <a:lnTo>
                  <a:pt x="5525167" y="6400608"/>
                </a:lnTo>
                <a:cubicBezTo>
                  <a:pt x="5525156" y="6400608"/>
                  <a:pt x="5525147" y="6400608"/>
                  <a:pt x="5525136" y="6400608"/>
                </a:cubicBezTo>
                <a:cubicBezTo>
                  <a:pt x="5512192" y="6400616"/>
                  <a:pt x="5501704" y="6411082"/>
                  <a:pt x="5501713" y="6423983"/>
                </a:cubicBezTo>
                <a:lnTo>
                  <a:pt x="5501713" y="6461968"/>
                </a:lnTo>
                <a:cubicBezTo>
                  <a:pt x="5501713" y="6475809"/>
                  <a:pt x="5491992" y="6486574"/>
                  <a:pt x="5479956" y="6486574"/>
                </a:cubicBezTo>
                <a:cubicBezTo>
                  <a:pt x="5467920" y="6486574"/>
                  <a:pt x="5458199" y="6475963"/>
                  <a:pt x="5458199" y="6461968"/>
                </a:cubicBezTo>
                <a:lnTo>
                  <a:pt x="5458199" y="6401838"/>
                </a:lnTo>
                <a:cubicBezTo>
                  <a:pt x="5458154" y="6401178"/>
                  <a:pt x="5457626" y="6400652"/>
                  <a:pt x="5456964" y="6400608"/>
                </a:cubicBezTo>
                <a:lnTo>
                  <a:pt x="5451409" y="6400608"/>
                </a:lnTo>
                <a:cubicBezTo>
                  <a:pt x="5451399" y="6400608"/>
                  <a:pt x="5451389" y="6400608"/>
                  <a:pt x="5451378" y="6400608"/>
                </a:cubicBezTo>
                <a:close/>
                <a:moveTo>
                  <a:pt x="5305746" y="6398147"/>
                </a:moveTo>
                <a:cubicBezTo>
                  <a:pt x="5291550" y="6398147"/>
                  <a:pt x="5286612" y="6402145"/>
                  <a:pt x="5280131" y="6410450"/>
                </a:cubicBezTo>
                <a:cubicBezTo>
                  <a:pt x="5275751" y="6404349"/>
                  <a:pt x="5268679" y="6400739"/>
                  <a:pt x="5261152" y="6400761"/>
                </a:cubicBezTo>
                <a:lnTo>
                  <a:pt x="5254825" y="6400761"/>
                </a:lnTo>
                <a:cubicBezTo>
                  <a:pt x="5254163" y="6400806"/>
                  <a:pt x="5253636" y="6401332"/>
                  <a:pt x="5253591" y="6401992"/>
                </a:cubicBezTo>
                <a:lnTo>
                  <a:pt x="5253591" y="6479654"/>
                </a:lnTo>
                <a:cubicBezTo>
                  <a:pt x="5253591" y="6479664"/>
                  <a:pt x="5253591" y="6479674"/>
                  <a:pt x="5253591" y="6479684"/>
                </a:cubicBezTo>
                <a:cubicBezTo>
                  <a:pt x="5253600" y="6492586"/>
                  <a:pt x="5264101" y="6503037"/>
                  <a:pt x="5277045" y="6503029"/>
                </a:cubicBezTo>
                <a:lnTo>
                  <a:pt x="5283372" y="6503029"/>
                </a:lnTo>
                <a:cubicBezTo>
                  <a:pt x="5283383" y="6503029"/>
                  <a:pt x="5283392" y="6503029"/>
                  <a:pt x="5283403" y="6503029"/>
                </a:cubicBezTo>
                <a:cubicBezTo>
                  <a:pt x="5284076" y="6503020"/>
                  <a:pt x="5284616" y="6502470"/>
                  <a:pt x="5284606" y="6501799"/>
                </a:cubicBezTo>
                <a:lnTo>
                  <a:pt x="5284606" y="6444898"/>
                </a:lnTo>
                <a:cubicBezTo>
                  <a:pt x="5284606" y="6425982"/>
                  <a:pt x="5289081" y="6418447"/>
                  <a:pt x="5306363" y="6418447"/>
                </a:cubicBezTo>
                <a:lnTo>
                  <a:pt x="5329046" y="6418601"/>
                </a:lnTo>
                <a:cubicBezTo>
                  <a:pt x="5329046" y="6407528"/>
                  <a:pt x="5323028" y="6398147"/>
                  <a:pt x="5305746" y="6398147"/>
                </a:cubicBezTo>
                <a:close/>
                <a:moveTo>
                  <a:pt x="5612041" y="6397994"/>
                </a:moveTo>
                <a:cubicBezTo>
                  <a:pt x="5597845" y="6397994"/>
                  <a:pt x="5592907" y="6401992"/>
                  <a:pt x="5586426" y="6410297"/>
                </a:cubicBezTo>
                <a:cubicBezTo>
                  <a:pt x="5582001" y="6404351"/>
                  <a:pt x="5575029" y="6400820"/>
                  <a:pt x="5567601" y="6400762"/>
                </a:cubicBezTo>
                <a:lnTo>
                  <a:pt x="5561274" y="6400762"/>
                </a:lnTo>
                <a:cubicBezTo>
                  <a:pt x="5560612" y="6400807"/>
                  <a:pt x="5560085" y="6401332"/>
                  <a:pt x="5560040" y="6401992"/>
                </a:cubicBezTo>
                <a:lnTo>
                  <a:pt x="5560040" y="6479654"/>
                </a:lnTo>
                <a:cubicBezTo>
                  <a:pt x="5560040" y="6479665"/>
                  <a:pt x="5560040" y="6479675"/>
                  <a:pt x="5560040" y="6479685"/>
                </a:cubicBezTo>
                <a:cubicBezTo>
                  <a:pt x="5560049" y="6492586"/>
                  <a:pt x="5570550" y="6503038"/>
                  <a:pt x="5583494" y="6503030"/>
                </a:cubicBezTo>
                <a:lnTo>
                  <a:pt x="5589667" y="6503030"/>
                </a:lnTo>
                <a:cubicBezTo>
                  <a:pt x="5589677" y="6503030"/>
                  <a:pt x="5589687" y="6503030"/>
                  <a:pt x="5589697" y="6503030"/>
                </a:cubicBezTo>
                <a:cubicBezTo>
                  <a:pt x="5590370" y="6503021"/>
                  <a:pt x="5590910" y="6502470"/>
                  <a:pt x="5590901" y="6501799"/>
                </a:cubicBezTo>
                <a:lnTo>
                  <a:pt x="5590901" y="6444899"/>
                </a:lnTo>
                <a:cubicBezTo>
                  <a:pt x="5590901" y="6425983"/>
                  <a:pt x="5595530" y="6418448"/>
                  <a:pt x="5612658" y="6418448"/>
                </a:cubicBezTo>
                <a:lnTo>
                  <a:pt x="5636267" y="6418448"/>
                </a:lnTo>
                <a:cubicBezTo>
                  <a:pt x="5636267" y="6407375"/>
                  <a:pt x="5629323" y="6397994"/>
                  <a:pt x="5612041" y="6397994"/>
                </a:cubicBezTo>
                <a:close/>
                <a:moveTo>
                  <a:pt x="5174278" y="6397379"/>
                </a:moveTo>
                <a:cubicBezTo>
                  <a:pt x="5141720" y="6397379"/>
                  <a:pt x="5116414" y="6421985"/>
                  <a:pt x="5116414" y="6451973"/>
                </a:cubicBezTo>
                <a:cubicBezTo>
                  <a:pt x="5116414" y="6481961"/>
                  <a:pt x="5141720" y="6506259"/>
                  <a:pt x="5174278" y="6506259"/>
                </a:cubicBezTo>
                <a:cubicBezTo>
                  <a:pt x="5206991" y="6506259"/>
                  <a:pt x="5232451" y="6481654"/>
                  <a:pt x="5232451" y="6451819"/>
                </a:cubicBezTo>
                <a:cubicBezTo>
                  <a:pt x="5232451" y="6421985"/>
                  <a:pt x="5206837" y="6397379"/>
                  <a:pt x="5174278" y="6397379"/>
                </a:cubicBezTo>
                <a:close/>
                <a:moveTo>
                  <a:pt x="4976427" y="6369082"/>
                </a:moveTo>
                <a:cubicBezTo>
                  <a:pt x="4975754" y="6369090"/>
                  <a:pt x="4975216" y="6369641"/>
                  <a:pt x="4975224" y="6370312"/>
                </a:cubicBezTo>
                <a:lnTo>
                  <a:pt x="4975224" y="6501645"/>
                </a:lnTo>
                <a:cubicBezTo>
                  <a:pt x="4975224" y="6501655"/>
                  <a:pt x="4975224" y="6501666"/>
                  <a:pt x="4975224" y="6501676"/>
                </a:cubicBezTo>
                <a:cubicBezTo>
                  <a:pt x="4975233" y="6502347"/>
                  <a:pt x="4975785" y="6502884"/>
                  <a:pt x="4976459" y="6502875"/>
                </a:cubicBezTo>
                <a:lnTo>
                  <a:pt x="4984019" y="6502875"/>
                </a:lnTo>
                <a:cubicBezTo>
                  <a:pt x="4984030" y="6502875"/>
                  <a:pt x="4984040" y="6502875"/>
                  <a:pt x="4984050" y="6502875"/>
                </a:cubicBezTo>
                <a:cubicBezTo>
                  <a:pt x="4996995" y="6502867"/>
                  <a:pt x="5007482" y="6492401"/>
                  <a:pt x="5007474" y="6479500"/>
                </a:cubicBezTo>
                <a:lnTo>
                  <a:pt x="5007474" y="6388612"/>
                </a:lnTo>
                <a:cubicBezTo>
                  <a:pt x="5043890" y="6388612"/>
                  <a:pt x="5063487" y="6411219"/>
                  <a:pt x="5063487" y="6443206"/>
                </a:cubicBezTo>
                <a:lnTo>
                  <a:pt x="5063487" y="6501799"/>
                </a:lnTo>
                <a:cubicBezTo>
                  <a:pt x="5063486" y="6501809"/>
                  <a:pt x="5063486" y="6501819"/>
                  <a:pt x="5063487" y="6501830"/>
                </a:cubicBezTo>
                <a:cubicBezTo>
                  <a:pt x="5063495" y="6502501"/>
                  <a:pt x="5064048" y="6503038"/>
                  <a:pt x="5064721" y="6503029"/>
                </a:cubicBezTo>
                <a:lnTo>
                  <a:pt x="5072282" y="6503029"/>
                </a:lnTo>
                <a:lnTo>
                  <a:pt x="5072591" y="6503029"/>
                </a:lnTo>
                <a:cubicBezTo>
                  <a:pt x="5072632" y="6503029"/>
                  <a:pt x="5072673" y="6503029"/>
                  <a:pt x="5072714" y="6503029"/>
                </a:cubicBezTo>
                <a:cubicBezTo>
                  <a:pt x="5085591" y="6502952"/>
                  <a:pt x="5095967" y="6492487"/>
                  <a:pt x="5095891" y="6479654"/>
                </a:cubicBezTo>
                <a:lnTo>
                  <a:pt x="5095891" y="6448127"/>
                </a:lnTo>
                <a:cubicBezTo>
                  <a:pt x="5095891" y="6401992"/>
                  <a:pt x="5062869" y="6368928"/>
                  <a:pt x="5017349" y="6369082"/>
                </a:cubicBezTo>
                <a:lnTo>
                  <a:pt x="4976459" y="6369082"/>
                </a:lnTo>
                <a:cubicBezTo>
                  <a:pt x="4976448" y="6369081"/>
                  <a:pt x="4976438" y="6369081"/>
                  <a:pt x="4976427" y="6369082"/>
                </a:cubicBezTo>
                <a:close/>
                <a:moveTo>
                  <a:pt x="5386571" y="6354318"/>
                </a:moveTo>
                <a:cubicBezTo>
                  <a:pt x="5373626" y="6354327"/>
                  <a:pt x="5363138" y="6364792"/>
                  <a:pt x="5363147" y="6377693"/>
                </a:cubicBezTo>
                <a:lnTo>
                  <a:pt x="5363147" y="6400761"/>
                </a:lnTo>
                <a:lnTo>
                  <a:pt x="5359135" y="6400761"/>
                </a:lnTo>
                <a:cubicBezTo>
                  <a:pt x="5348025" y="6400761"/>
                  <a:pt x="5339230" y="6407682"/>
                  <a:pt x="5339230" y="6418600"/>
                </a:cubicBezTo>
                <a:lnTo>
                  <a:pt x="5363147" y="6418600"/>
                </a:lnTo>
                <a:lnTo>
                  <a:pt x="5363147" y="6501799"/>
                </a:lnTo>
                <a:cubicBezTo>
                  <a:pt x="5363147" y="6501809"/>
                  <a:pt x="5363147" y="6501819"/>
                  <a:pt x="5363147" y="6501830"/>
                </a:cubicBezTo>
                <a:cubicBezTo>
                  <a:pt x="5363157" y="6502501"/>
                  <a:pt x="5363709" y="6503038"/>
                  <a:pt x="5364382" y="6503029"/>
                </a:cubicBezTo>
                <a:lnTo>
                  <a:pt x="5370554" y="6503029"/>
                </a:lnTo>
                <a:cubicBezTo>
                  <a:pt x="5370565" y="6503029"/>
                  <a:pt x="5370574" y="6503029"/>
                  <a:pt x="5370585" y="6503029"/>
                </a:cubicBezTo>
                <a:cubicBezTo>
                  <a:pt x="5383529" y="6503020"/>
                  <a:pt x="5394018" y="6492555"/>
                  <a:pt x="5394008" y="6479653"/>
                </a:cubicBezTo>
                <a:lnTo>
                  <a:pt x="5394008" y="6418600"/>
                </a:lnTo>
                <a:lnTo>
                  <a:pt x="5398020" y="6418600"/>
                </a:lnTo>
                <a:cubicBezTo>
                  <a:pt x="5408976" y="6418600"/>
                  <a:pt x="5417926" y="6411680"/>
                  <a:pt x="5417926" y="6400608"/>
                </a:cubicBezTo>
                <a:lnTo>
                  <a:pt x="5394163" y="6400608"/>
                </a:lnTo>
                <a:lnTo>
                  <a:pt x="5394163" y="6355548"/>
                </a:lnTo>
                <a:cubicBezTo>
                  <a:pt x="5394118" y="6354888"/>
                  <a:pt x="5393590" y="6354363"/>
                  <a:pt x="5392928" y="6354318"/>
                </a:cubicBezTo>
                <a:lnTo>
                  <a:pt x="5386602" y="6354318"/>
                </a:lnTo>
                <a:cubicBezTo>
                  <a:pt x="5386591" y="6354318"/>
                  <a:pt x="5386582" y="6354318"/>
                  <a:pt x="5386571" y="6354318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9BE5C01-2288-CB44-B793-0A1269D81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4481512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BB69A64E-E40D-4741-9A99-CA118DAB1F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349500"/>
            <a:ext cx="4481512" cy="374650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177739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Content slide: Title placeholder + content placehol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BAB0D5F1-1F4E-CC4D-8611-0E7771A694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8FF5C815-3CAE-1942-B293-9C639E91C3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6040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0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ADB05EAC-391B-894C-A57C-E545E47183E6}"/>
              </a:ext>
            </a:extLst>
          </p:cNvPr>
          <p:cNvSpPr/>
          <p:nvPr userDrawn="1"/>
        </p:nvSpPr>
        <p:spPr>
          <a:xfrm>
            <a:off x="-190500" y="-203200"/>
            <a:ext cx="5448300" cy="706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Grafikk 3">
            <a:extLst>
              <a:ext uri="{FF2B5EF4-FFF2-40B4-BE49-F238E27FC236}">
                <a16:creationId xmlns:a16="http://schemas.microsoft.com/office/drawing/2014/main" id="{71E13315-95E7-D741-B46F-26BB32BC0E35}"/>
              </a:ext>
            </a:extLst>
          </p:cNvPr>
          <p:cNvSpPr/>
          <p:nvPr/>
        </p:nvSpPr>
        <p:spPr>
          <a:xfrm>
            <a:off x="1866898" y="-390781"/>
            <a:ext cx="8460906" cy="7874683"/>
          </a:xfrm>
          <a:custGeom>
            <a:avLst/>
            <a:gdLst>
              <a:gd name="connsiteX0" fmla="*/ 1589540 w 2944781"/>
              <a:gd name="connsiteY0" fmla="*/ 2740724 h 2740749"/>
              <a:gd name="connsiteX1" fmla="*/ 212241 w 2944781"/>
              <a:gd name="connsiteY1" fmla="*/ 1874520 h 2740749"/>
              <a:gd name="connsiteX2" fmla="*/ 607724 w 2944781"/>
              <a:gd name="connsiteY2" fmla="*/ 125159 h 2740749"/>
              <a:gd name="connsiteX3" fmla="*/ 1169060 w 2944781"/>
              <a:gd name="connsiteY3" fmla="*/ 0 h 2740749"/>
              <a:gd name="connsiteX4" fmla="*/ 2660224 w 2944781"/>
              <a:gd name="connsiteY4" fmla="*/ 625793 h 2740749"/>
              <a:gd name="connsiteX5" fmla="*/ 2042430 w 2944781"/>
              <a:gd name="connsiteY5" fmla="*/ 2636425 h 2740749"/>
              <a:gd name="connsiteX6" fmla="*/ 1589920 w 2944781"/>
              <a:gd name="connsiteY6" fmla="*/ 2740724 h 274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44781" h="2740749">
                <a:moveTo>
                  <a:pt x="1589540" y="2740724"/>
                </a:moveTo>
                <a:cubicBezTo>
                  <a:pt x="1070118" y="2740724"/>
                  <a:pt x="517241" y="2379345"/>
                  <a:pt x="212241" y="1874520"/>
                </a:cubicBezTo>
                <a:cubicBezTo>
                  <a:pt x="-185428" y="1216819"/>
                  <a:pt x="-7884" y="434340"/>
                  <a:pt x="607724" y="125159"/>
                </a:cubicBezTo>
                <a:cubicBezTo>
                  <a:pt x="779375" y="38767"/>
                  <a:pt x="970891" y="0"/>
                  <a:pt x="1169060" y="0"/>
                </a:cubicBezTo>
                <a:cubicBezTo>
                  <a:pt x="1682304" y="0"/>
                  <a:pt x="2244972" y="258985"/>
                  <a:pt x="2660224" y="625793"/>
                </a:cubicBezTo>
                <a:cubicBezTo>
                  <a:pt x="3344549" y="1230725"/>
                  <a:pt x="2656992" y="2327148"/>
                  <a:pt x="2042430" y="2636425"/>
                </a:cubicBezTo>
                <a:cubicBezTo>
                  <a:pt x="1901794" y="2706136"/>
                  <a:pt x="1746816" y="2741857"/>
                  <a:pt x="1589920" y="2740724"/>
                </a:cubicBezTo>
              </a:path>
            </a:pathLst>
          </a:custGeom>
          <a:solidFill>
            <a:schemeClr val="bg1"/>
          </a:solidFill>
          <a:ln w="9494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2F47A888-3D4B-5E4F-8B72-AB1C007D4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233" y="1343891"/>
            <a:ext cx="5561534" cy="4405340"/>
          </a:xfr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Friform 8">
            <a:extLst>
              <a:ext uri="{FF2B5EF4-FFF2-40B4-BE49-F238E27FC236}">
                <a16:creationId xmlns:a16="http://schemas.microsoft.com/office/drawing/2014/main" id="{89A4076D-B983-5D46-92F8-6B0EA7806FF6}"/>
              </a:ext>
            </a:extLst>
          </p:cNvPr>
          <p:cNvSpPr/>
          <p:nvPr userDrawn="1"/>
        </p:nvSpPr>
        <p:spPr>
          <a:xfrm>
            <a:off x="11071224" y="6354318"/>
            <a:ext cx="771217" cy="152095"/>
          </a:xfrm>
          <a:custGeom>
            <a:avLst/>
            <a:gdLst>
              <a:gd name="connsiteX0" fmla="*/ 199054 w 771217"/>
              <a:gd name="connsiteY0" fmla="*/ 61515 h 152095"/>
              <a:gd name="connsiteX1" fmla="*/ 173594 w 771217"/>
              <a:gd name="connsiteY1" fmla="*/ 97655 h 152095"/>
              <a:gd name="connsiteX2" fmla="*/ 199054 w 771217"/>
              <a:gd name="connsiteY2" fmla="*/ 133795 h 152095"/>
              <a:gd name="connsiteX3" fmla="*/ 224669 w 771217"/>
              <a:gd name="connsiteY3" fmla="*/ 97655 h 152095"/>
              <a:gd name="connsiteX4" fmla="*/ 199054 w 771217"/>
              <a:gd name="connsiteY4" fmla="*/ 61515 h 152095"/>
              <a:gd name="connsiteX5" fmla="*/ 676473 w 771217"/>
              <a:gd name="connsiteY5" fmla="*/ 46290 h 152095"/>
              <a:gd name="connsiteX6" fmla="*/ 709032 w 771217"/>
              <a:gd name="connsiteY6" fmla="*/ 46290 h 152095"/>
              <a:gd name="connsiteX7" fmla="*/ 771217 w 771217"/>
              <a:gd name="connsiteY7" fmla="*/ 103345 h 152095"/>
              <a:gd name="connsiteX8" fmla="*/ 771217 w 771217"/>
              <a:gd name="connsiteY8" fmla="*/ 147327 h 152095"/>
              <a:gd name="connsiteX9" fmla="*/ 769828 w 771217"/>
              <a:gd name="connsiteY9" fmla="*/ 148711 h 152095"/>
              <a:gd name="connsiteX10" fmla="*/ 703477 w 771217"/>
              <a:gd name="connsiteY10" fmla="*/ 148711 h 152095"/>
              <a:gd name="connsiteX11" fmla="*/ 664129 w 771217"/>
              <a:gd name="connsiteY11" fmla="*/ 117185 h 152095"/>
              <a:gd name="connsiteX12" fmla="*/ 705328 w 771217"/>
              <a:gd name="connsiteY12" fmla="*/ 85813 h 152095"/>
              <a:gd name="connsiteX13" fmla="*/ 707952 w 771217"/>
              <a:gd name="connsiteY13" fmla="*/ 85813 h 152095"/>
              <a:gd name="connsiteX14" fmla="*/ 726931 w 771217"/>
              <a:gd name="connsiteY14" fmla="*/ 103498 h 152095"/>
              <a:gd name="connsiteX15" fmla="*/ 726931 w 771217"/>
              <a:gd name="connsiteY15" fmla="*/ 104729 h 152095"/>
              <a:gd name="connsiteX16" fmla="*/ 708415 w 771217"/>
              <a:gd name="connsiteY16" fmla="*/ 104729 h 152095"/>
              <a:gd name="connsiteX17" fmla="*/ 695762 w 771217"/>
              <a:gd name="connsiteY17" fmla="*/ 116716 h 152095"/>
              <a:gd name="connsiteX18" fmla="*/ 695762 w 771217"/>
              <a:gd name="connsiteY18" fmla="*/ 116724 h 152095"/>
              <a:gd name="connsiteX19" fmla="*/ 695762 w 771217"/>
              <a:gd name="connsiteY19" fmla="*/ 117185 h 152095"/>
              <a:gd name="connsiteX20" fmla="*/ 708415 w 771217"/>
              <a:gd name="connsiteY20" fmla="*/ 129796 h 152095"/>
              <a:gd name="connsiteX21" fmla="*/ 740664 w 771217"/>
              <a:gd name="connsiteY21" fmla="*/ 129796 h 152095"/>
              <a:gd name="connsiteX22" fmla="*/ 740664 w 771217"/>
              <a:gd name="connsiteY22" fmla="*/ 99346 h 152095"/>
              <a:gd name="connsiteX23" fmla="*/ 707026 w 771217"/>
              <a:gd name="connsiteY23" fmla="*/ 65821 h 152095"/>
              <a:gd name="connsiteX24" fmla="*/ 696224 w 771217"/>
              <a:gd name="connsiteY24" fmla="*/ 65821 h 152095"/>
              <a:gd name="connsiteX25" fmla="*/ 676475 w 771217"/>
              <a:gd name="connsiteY25" fmla="*/ 46662 h 152095"/>
              <a:gd name="connsiteX26" fmla="*/ 676473 w 771217"/>
              <a:gd name="connsiteY26" fmla="*/ 46598 h 152095"/>
              <a:gd name="connsiteX27" fmla="*/ 476154 w 771217"/>
              <a:gd name="connsiteY27" fmla="*/ 46290 h 152095"/>
              <a:gd name="connsiteX28" fmla="*/ 476185 w 771217"/>
              <a:gd name="connsiteY28" fmla="*/ 46290 h 152095"/>
              <a:gd name="connsiteX29" fmla="*/ 481740 w 771217"/>
              <a:gd name="connsiteY29" fmla="*/ 46290 h 152095"/>
              <a:gd name="connsiteX30" fmla="*/ 482975 w 771217"/>
              <a:gd name="connsiteY30" fmla="*/ 47520 h 152095"/>
              <a:gd name="connsiteX31" fmla="*/ 482975 w 771217"/>
              <a:gd name="connsiteY31" fmla="*/ 107650 h 152095"/>
              <a:gd name="connsiteX32" fmla="*/ 504732 w 771217"/>
              <a:gd name="connsiteY32" fmla="*/ 132256 h 152095"/>
              <a:gd name="connsiteX33" fmla="*/ 526489 w 771217"/>
              <a:gd name="connsiteY33" fmla="*/ 107650 h 152095"/>
              <a:gd name="connsiteX34" fmla="*/ 526489 w 771217"/>
              <a:gd name="connsiteY34" fmla="*/ 69665 h 152095"/>
              <a:gd name="connsiteX35" fmla="*/ 549912 w 771217"/>
              <a:gd name="connsiteY35" fmla="*/ 46290 h 152095"/>
              <a:gd name="connsiteX36" fmla="*/ 549943 w 771217"/>
              <a:gd name="connsiteY36" fmla="*/ 46290 h 152095"/>
              <a:gd name="connsiteX37" fmla="*/ 555498 w 771217"/>
              <a:gd name="connsiteY37" fmla="*/ 46290 h 152095"/>
              <a:gd name="connsiteX38" fmla="*/ 556887 w 771217"/>
              <a:gd name="connsiteY38" fmla="*/ 47366 h 152095"/>
              <a:gd name="connsiteX39" fmla="*/ 556887 w 771217"/>
              <a:gd name="connsiteY39" fmla="*/ 105190 h 152095"/>
              <a:gd name="connsiteX40" fmla="*/ 504886 w 771217"/>
              <a:gd name="connsiteY40" fmla="*/ 152095 h 152095"/>
              <a:gd name="connsiteX41" fmla="*/ 452731 w 771217"/>
              <a:gd name="connsiteY41" fmla="*/ 105344 h 152095"/>
              <a:gd name="connsiteX42" fmla="*/ 452731 w 771217"/>
              <a:gd name="connsiteY42" fmla="*/ 69665 h 152095"/>
              <a:gd name="connsiteX43" fmla="*/ 476154 w 771217"/>
              <a:gd name="connsiteY43" fmla="*/ 46290 h 152095"/>
              <a:gd name="connsiteX44" fmla="*/ 330522 w 771217"/>
              <a:gd name="connsiteY44" fmla="*/ 43829 h 152095"/>
              <a:gd name="connsiteX45" fmla="*/ 353822 w 771217"/>
              <a:gd name="connsiteY45" fmla="*/ 64283 h 152095"/>
              <a:gd name="connsiteX46" fmla="*/ 331139 w 771217"/>
              <a:gd name="connsiteY46" fmla="*/ 64129 h 152095"/>
              <a:gd name="connsiteX47" fmla="*/ 309382 w 771217"/>
              <a:gd name="connsiteY47" fmla="*/ 90580 h 152095"/>
              <a:gd name="connsiteX48" fmla="*/ 309382 w 771217"/>
              <a:gd name="connsiteY48" fmla="*/ 147481 h 152095"/>
              <a:gd name="connsiteX49" fmla="*/ 308179 w 771217"/>
              <a:gd name="connsiteY49" fmla="*/ 148711 h 152095"/>
              <a:gd name="connsiteX50" fmla="*/ 308148 w 771217"/>
              <a:gd name="connsiteY50" fmla="*/ 148711 h 152095"/>
              <a:gd name="connsiteX51" fmla="*/ 301821 w 771217"/>
              <a:gd name="connsiteY51" fmla="*/ 148711 h 152095"/>
              <a:gd name="connsiteX52" fmla="*/ 278367 w 771217"/>
              <a:gd name="connsiteY52" fmla="*/ 125366 h 152095"/>
              <a:gd name="connsiteX53" fmla="*/ 278367 w 771217"/>
              <a:gd name="connsiteY53" fmla="*/ 125336 h 152095"/>
              <a:gd name="connsiteX54" fmla="*/ 278367 w 771217"/>
              <a:gd name="connsiteY54" fmla="*/ 47674 h 152095"/>
              <a:gd name="connsiteX55" fmla="*/ 279601 w 771217"/>
              <a:gd name="connsiteY55" fmla="*/ 46443 h 152095"/>
              <a:gd name="connsiteX56" fmla="*/ 285928 w 771217"/>
              <a:gd name="connsiteY56" fmla="*/ 46443 h 152095"/>
              <a:gd name="connsiteX57" fmla="*/ 304907 w 771217"/>
              <a:gd name="connsiteY57" fmla="*/ 56132 h 152095"/>
              <a:gd name="connsiteX58" fmla="*/ 330522 w 771217"/>
              <a:gd name="connsiteY58" fmla="*/ 43829 h 152095"/>
              <a:gd name="connsiteX59" fmla="*/ 636817 w 771217"/>
              <a:gd name="connsiteY59" fmla="*/ 43676 h 152095"/>
              <a:gd name="connsiteX60" fmla="*/ 661043 w 771217"/>
              <a:gd name="connsiteY60" fmla="*/ 64130 h 152095"/>
              <a:gd name="connsiteX61" fmla="*/ 637434 w 771217"/>
              <a:gd name="connsiteY61" fmla="*/ 64130 h 152095"/>
              <a:gd name="connsiteX62" fmla="*/ 615677 w 771217"/>
              <a:gd name="connsiteY62" fmla="*/ 90581 h 152095"/>
              <a:gd name="connsiteX63" fmla="*/ 615677 w 771217"/>
              <a:gd name="connsiteY63" fmla="*/ 147481 h 152095"/>
              <a:gd name="connsiteX64" fmla="*/ 614473 w 771217"/>
              <a:gd name="connsiteY64" fmla="*/ 148712 h 152095"/>
              <a:gd name="connsiteX65" fmla="*/ 614443 w 771217"/>
              <a:gd name="connsiteY65" fmla="*/ 148712 h 152095"/>
              <a:gd name="connsiteX66" fmla="*/ 608270 w 771217"/>
              <a:gd name="connsiteY66" fmla="*/ 148712 h 152095"/>
              <a:gd name="connsiteX67" fmla="*/ 584816 w 771217"/>
              <a:gd name="connsiteY67" fmla="*/ 125367 h 152095"/>
              <a:gd name="connsiteX68" fmla="*/ 584816 w 771217"/>
              <a:gd name="connsiteY68" fmla="*/ 125336 h 152095"/>
              <a:gd name="connsiteX69" fmla="*/ 584816 w 771217"/>
              <a:gd name="connsiteY69" fmla="*/ 47674 h 152095"/>
              <a:gd name="connsiteX70" fmla="*/ 586050 w 771217"/>
              <a:gd name="connsiteY70" fmla="*/ 46444 h 152095"/>
              <a:gd name="connsiteX71" fmla="*/ 592377 w 771217"/>
              <a:gd name="connsiteY71" fmla="*/ 46444 h 152095"/>
              <a:gd name="connsiteX72" fmla="*/ 611202 w 771217"/>
              <a:gd name="connsiteY72" fmla="*/ 55979 h 152095"/>
              <a:gd name="connsiteX73" fmla="*/ 636817 w 771217"/>
              <a:gd name="connsiteY73" fmla="*/ 43676 h 152095"/>
              <a:gd name="connsiteX74" fmla="*/ 199054 w 771217"/>
              <a:gd name="connsiteY74" fmla="*/ 43061 h 152095"/>
              <a:gd name="connsiteX75" fmla="*/ 257227 w 771217"/>
              <a:gd name="connsiteY75" fmla="*/ 97501 h 152095"/>
              <a:gd name="connsiteX76" fmla="*/ 199054 w 771217"/>
              <a:gd name="connsiteY76" fmla="*/ 151941 h 152095"/>
              <a:gd name="connsiteX77" fmla="*/ 141190 w 771217"/>
              <a:gd name="connsiteY77" fmla="*/ 97655 h 152095"/>
              <a:gd name="connsiteX78" fmla="*/ 199054 w 771217"/>
              <a:gd name="connsiteY78" fmla="*/ 43061 h 152095"/>
              <a:gd name="connsiteX79" fmla="*/ 1203 w 771217"/>
              <a:gd name="connsiteY79" fmla="*/ 14764 h 152095"/>
              <a:gd name="connsiteX80" fmla="*/ 1235 w 771217"/>
              <a:gd name="connsiteY80" fmla="*/ 14764 h 152095"/>
              <a:gd name="connsiteX81" fmla="*/ 42125 w 771217"/>
              <a:gd name="connsiteY81" fmla="*/ 14764 h 152095"/>
              <a:gd name="connsiteX82" fmla="*/ 120667 w 771217"/>
              <a:gd name="connsiteY82" fmla="*/ 93809 h 152095"/>
              <a:gd name="connsiteX83" fmla="*/ 120667 w 771217"/>
              <a:gd name="connsiteY83" fmla="*/ 125336 h 152095"/>
              <a:gd name="connsiteX84" fmla="*/ 97490 w 771217"/>
              <a:gd name="connsiteY84" fmla="*/ 148711 h 152095"/>
              <a:gd name="connsiteX85" fmla="*/ 97367 w 771217"/>
              <a:gd name="connsiteY85" fmla="*/ 148711 h 152095"/>
              <a:gd name="connsiteX86" fmla="*/ 97058 w 771217"/>
              <a:gd name="connsiteY86" fmla="*/ 148711 h 152095"/>
              <a:gd name="connsiteX87" fmla="*/ 89497 w 771217"/>
              <a:gd name="connsiteY87" fmla="*/ 148711 h 152095"/>
              <a:gd name="connsiteX88" fmla="*/ 88263 w 771217"/>
              <a:gd name="connsiteY88" fmla="*/ 147512 h 152095"/>
              <a:gd name="connsiteX89" fmla="*/ 88263 w 771217"/>
              <a:gd name="connsiteY89" fmla="*/ 147481 h 152095"/>
              <a:gd name="connsiteX90" fmla="*/ 88263 w 771217"/>
              <a:gd name="connsiteY90" fmla="*/ 88888 h 152095"/>
              <a:gd name="connsiteX91" fmla="*/ 32250 w 771217"/>
              <a:gd name="connsiteY91" fmla="*/ 34294 h 152095"/>
              <a:gd name="connsiteX92" fmla="*/ 32250 w 771217"/>
              <a:gd name="connsiteY92" fmla="*/ 125182 h 152095"/>
              <a:gd name="connsiteX93" fmla="*/ 8826 w 771217"/>
              <a:gd name="connsiteY93" fmla="*/ 148557 h 152095"/>
              <a:gd name="connsiteX94" fmla="*/ 8795 w 771217"/>
              <a:gd name="connsiteY94" fmla="*/ 148557 h 152095"/>
              <a:gd name="connsiteX95" fmla="*/ 1235 w 771217"/>
              <a:gd name="connsiteY95" fmla="*/ 148557 h 152095"/>
              <a:gd name="connsiteX96" fmla="*/ 0 w 771217"/>
              <a:gd name="connsiteY96" fmla="*/ 147358 h 152095"/>
              <a:gd name="connsiteX97" fmla="*/ 0 w 771217"/>
              <a:gd name="connsiteY97" fmla="*/ 147327 h 152095"/>
              <a:gd name="connsiteX98" fmla="*/ 0 w 771217"/>
              <a:gd name="connsiteY98" fmla="*/ 15994 h 152095"/>
              <a:gd name="connsiteX99" fmla="*/ 1203 w 771217"/>
              <a:gd name="connsiteY99" fmla="*/ 14764 h 152095"/>
              <a:gd name="connsiteX100" fmla="*/ 411347 w 771217"/>
              <a:gd name="connsiteY100" fmla="*/ 0 h 152095"/>
              <a:gd name="connsiteX101" fmla="*/ 411378 w 771217"/>
              <a:gd name="connsiteY101" fmla="*/ 0 h 152095"/>
              <a:gd name="connsiteX102" fmla="*/ 417704 w 771217"/>
              <a:gd name="connsiteY102" fmla="*/ 0 h 152095"/>
              <a:gd name="connsiteX103" fmla="*/ 418939 w 771217"/>
              <a:gd name="connsiteY103" fmla="*/ 1230 h 152095"/>
              <a:gd name="connsiteX104" fmla="*/ 418939 w 771217"/>
              <a:gd name="connsiteY104" fmla="*/ 46290 h 152095"/>
              <a:gd name="connsiteX105" fmla="*/ 442702 w 771217"/>
              <a:gd name="connsiteY105" fmla="*/ 46290 h 152095"/>
              <a:gd name="connsiteX106" fmla="*/ 422796 w 771217"/>
              <a:gd name="connsiteY106" fmla="*/ 64282 h 152095"/>
              <a:gd name="connsiteX107" fmla="*/ 418784 w 771217"/>
              <a:gd name="connsiteY107" fmla="*/ 64282 h 152095"/>
              <a:gd name="connsiteX108" fmla="*/ 418784 w 771217"/>
              <a:gd name="connsiteY108" fmla="*/ 125335 h 152095"/>
              <a:gd name="connsiteX109" fmla="*/ 395361 w 771217"/>
              <a:gd name="connsiteY109" fmla="*/ 148711 h 152095"/>
              <a:gd name="connsiteX110" fmla="*/ 395330 w 771217"/>
              <a:gd name="connsiteY110" fmla="*/ 148711 h 152095"/>
              <a:gd name="connsiteX111" fmla="*/ 389158 w 771217"/>
              <a:gd name="connsiteY111" fmla="*/ 148711 h 152095"/>
              <a:gd name="connsiteX112" fmla="*/ 387923 w 771217"/>
              <a:gd name="connsiteY112" fmla="*/ 147512 h 152095"/>
              <a:gd name="connsiteX113" fmla="*/ 387923 w 771217"/>
              <a:gd name="connsiteY113" fmla="*/ 147481 h 152095"/>
              <a:gd name="connsiteX114" fmla="*/ 387923 w 771217"/>
              <a:gd name="connsiteY114" fmla="*/ 64282 h 152095"/>
              <a:gd name="connsiteX115" fmla="*/ 364006 w 771217"/>
              <a:gd name="connsiteY115" fmla="*/ 64282 h 152095"/>
              <a:gd name="connsiteX116" fmla="*/ 383911 w 771217"/>
              <a:gd name="connsiteY116" fmla="*/ 46443 h 152095"/>
              <a:gd name="connsiteX117" fmla="*/ 387923 w 771217"/>
              <a:gd name="connsiteY117" fmla="*/ 46443 h 152095"/>
              <a:gd name="connsiteX118" fmla="*/ 387923 w 771217"/>
              <a:gd name="connsiteY118" fmla="*/ 23375 h 152095"/>
              <a:gd name="connsiteX119" fmla="*/ 411347 w 771217"/>
              <a:gd name="connsiteY119" fmla="*/ 0 h 152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771217" h="152095">
                <a:moveTo>
                  <a:pt x="199054" y="61515"/>
                </a:moveTo>
                <a:cubicBezTo>
                  <a:pt x="185013" y="61515"/>
                  <a:pt x="173594" y="77663"/>
                  <a:pt x="173594" y="97655"/>
                </a:cubicBezTo>
                <a:cubicBezTo>
                  <a:pt x="173594" y="117647"/>
                  <a:pt x="185013" y="133795"/>
                  <a:pt x="199054" y="133795"/>
                </a:cubicBezTo>
                <a:cubicBezTo>
                  <a:pt x="213096" y="133795"/>
                  <a:pt x="224669" y="117647"/>
                  <a:pt x="224669" y="97655"/>
                </a:cubicBezTo>
                <a:cubicBezTo>
                  <a:pt x="224669" y="77663"/>
                  <a:pt x="213250" y="61515"/>
                  <a:pt x="199054" y="61515"/>
                </a:cubicBezTo>
                <a:close/>
                <a:moveTo>
                  <a:pt x="676473" y="46290"/>
                </a:moveTo>
                <a:lnTo>
                  <a:pt x="709032" y="46290"/>
                </a:lnTo>
                <a:cubicBezTo>
                  <a:pt x="752546" y="46290"/>
                  <a:pt x="771217" y="68128"/>
                  <a:pt x="771217" y="103345"/>
                </a:cubicBezTo>
                <a:lnTo>
                  <a:pt x="771217" y="147327"/>
                </a:lnTo>
                <a:cubicBezTo>
                  <a:pt x="771062" y="148096"/>
                  <a:pt x="770599" y="148711"/>
                  <a:pt x="769828" y="148711"/>
                </a:cubicBezTo>
                <a:lnTo>
                  <a:pt x="703477" y="148711"/>
                </a:lnTo>
                <a:cubicBezTo>
                  <a:pt x="681257" y="148711"/>
                  <a:pt x="664129" y="134563"/>
                  <a:pt x="664129" y="117185"/>
                </a:cubicBezTo>
                <a:cubicBezTo>
                  <a:pt x="664129" y="99807"/>
                  <a:pt x="681565" y="85813"/>
                  <a:pt x="705328" y="85813"/>
                </a:cubicBezTo>
                <a:lnTo>
                  <a:pt x="707952" y="85813"/>
                </a:lnTo>
                <a:cubicBezTo>
                  <a:pt x="718063" y="85552"/>
                  <a:pt x="726513" y="93426"/>
                  <a:pt x="726931" y="103498"/>
                </a:cubicBezTo>
                <a:lnTo>
                  <a:pt x="726931" y="104729"/>
                </a:lnTo>
                <a:lnTo>
                  <a:pt x="708415" y="104729"/>
                </a:lnTo>
                <a:cubicBezTo>
                  <a:pt x="701599" y="104557"/>
                  <a:pt x="695934" y="109924"/>
                  <a:pt x="695762" y="116716"/>
                </a:cubicBezTo>
                <a:cubicBezTo>
                  <a:pt x="695762" y="116719"/>
                  <a:pt x="695762" y="116721"/>
                  <a:pt x="695762" y="116724"/>
                </a:cubicBezTo>
                <a:lnTo>
                  <a:pt x="695762" y="117185"/>
                </a:lnTo>
                <a:cubicBezTo>
                  <a:pt x="695795" y="124136"/>
                  <a:pt x="701440" y="129762"/>
                  <a:pt x="708415" y="129796"/>
                </a:cubicBezTo>
                <a:lnTo>
                  <a:pt x="740664" y="129796"/>
                </a:lnTo>
                <a:lnTo>
                  <a:pt x="740664" y="99346"/>
                </a:lnTo>
                <a:cubicBezTo>
                  <a:pt x="740664" y="78585"/>
                  <a:pt x="729246" y="65821"/>
                  <a:pt x="707026" y="65821"/>
                </a:cubicBezTo>
                <a:lnTo>
                  <a:pt x="696224" y="65821"/>
                </a:lnTo>
                <a:cubicBezTo>
                  <a:pt x="685462" y="65966"/>
                  <a:pt x="676620" y="57388"/>
                  <a:pt x="676475" y="46662"/>
                </a:cubicBezTo>
                <a:cubicBezTo>
                  <a:pt x="676473" y="46640"/>
                  <a:pt x="676473" y="46619"/>
                  <a:pt x="676473" y="46598"/>
                </a:cubicBezTo>
                <a:close/>
                <a:moveTo>
                  <a:pt x="476154" y="46290"/>
                </a:moveTo>
                <a:cubicBezTo>
                  <a:pt x="476165" y="46290"/>
                  <a:pt x="476175" y="46290"/>
                  <a:pt x="476185" y="46290"/>
                </a:cubicBezTo>
                <a:lnTo>
                  <a:pt x="481740" y="46290"/>
                </a:lnTo>
                <a:cubicBezTo>
                  <a:pt x="482402" y="46334"/>
                  <a:pt x="482930" y="46860"/>
                  <a:pt x="482975" y="47520"/>
                </a:cubicBezTo>
                <a:lnTo>
                  <a:pt x="482975" y="107650"/>
                </a:lnTo>
                <a:cubicBezTo>
                  <a:pt x="482975" y="121645"/>
                  <a:pt x="492696" y="132256"/>
                  <a:pt x="504732" y="132256"/>
                </a:cubicBezTo>
                <a:cubicBezTo>
                  <a:pt x="516768" y="132256"/>
                  <a:pt x="526489" y="121491"/>
                  <a:pt x="526489" y="107650"/>
                </a:cubicBezTo>
                <a:lnTo>
                  <a:pt x="526489" y="69665"/>
                </a:lnTo>
                <a:cubicBezTo>
                  <a:pt x="526480" y="56764"/>
                  <a:pt x="536968" y="46298"/>
                  <a:pt x="549912" y="46290"/>
                </a:cubicBezTo>
                <a:cubicBezTo>
                  <a:pt x="549923" y="46290"/>
                  <a:pt x="549932" y="46290"/>
                  <a:pt x="549943" y="46290"/>
                </a:cubicBezTo>
                <a:lnTo>
                  <a:pt x="555498" y="46290"/>
                </a:lnTo>
                <a:cubicBezTo>
                  <a:pt x="556115" y="46136"/>
                  <a:pt x="556733" y="46751"/>
                  <a:pt x="556887" y="47366"/>
                </a:cubicBezTo>
                <a:lnTo>
                  <a:pt x="556887" y="105190"/>
                </a:lnTo>
                <a:cubicBezTo>
                  <a:pt x="557041" y="131795"/>
                  <a:pt x="533741" y="152095"/>
                  <a:pt x="504886" y="152095"/>
                </a:cubicBezTo>
                <a:cubicBezTo>
                  <a:pt x="476031" y="152095"/>
                  <a:pt x="452731" y="131641"/>
                  <a:pt x="452731" y="105344"/>
                </a:cubicBezTo>
                <a:lnTo>
                  <a:pt x="452731" y="69665"/>
                </a:lnTo>
                <a:cubicBezTo>
                  <a:pt x="452722" y="56764"/>
                  <a:pt x="463210" y="46298"/>
                  <a:pt x="476154" y="46290"/>
                </a:cubicBezTo>
                <a:close/>
                <a:moveTo>
                  <a:pt x="330522" y="43829"/>
                </a:moveTo>
                <a:cubicBezTo>
                  <a:pt x="347804" y="43829"/>
                  <a:pt x="353822" y="53210"/>
                  <a:pt x="353822" y="64283"/>
                </a:cubicBezTo>
                <a:lnTo>
                  <a:pt x="331139" y="64129"/>
                </a:lnTo>
                <a:cubicBezTo>
                  <a:pt x="313857" y="64129"/>
                  <a:pt x="309382" y="71664"/>
                  <a:pt x="309382" y="90580"/>
                </a:cubicBezTo>
                <a:lnTo>
                  <a:pt x="309382" y="147481"/>
                </a:lnTo>
                <a:cubicBezTo>
                  <a:pt x="309392" y="148152"/>
                  <a:pt x="308852" y="148702"/>
                  <a:pt x="308179" y="148711"/>
                </a:cubicBezTo>
                <a:cubicBezTo>
                  <a:pt x="308168" y="148711"/>
                  <a:pt x="308159" y="148711"/>
                  <a:pt x="308148" y="148711"/>
                </a:cubicBezTo>
                <a:lnTo>
                  <a:pt x="301821" y="148711"/>
                </a:lnTo>
                <a:cubicBezTo>
                  <a:pt x="288877" y="148719"/>
                  <a:pt x="278376" y="138268"/>
                  <a:pt x="278367" y="125366"/>
                </a:cubicBezTo>
                <a:cubicBezTo>
                  <a:pt x="278367" y="125356"/>
                  <a:pt x="278367" y="125346"/>
                  <a:pt x="278367" y="125336"/>
                </a:cubicBezTo>
                <a:lnTo>
                  <a:pt x="278367" y="47674"/>
                </a:lnTo>
                <a:cubicBezTo>
                  <a:pt x="278412" y="47014"/>
                  <a:pt x="278939" y="46488"/>
                  <a:pt x="279601" y="46443"/>
                </a:cubicBezTo>
                <a:lnTo>
                  <a:pt x="285928" y="46443"/>
                </a:lnTo>
                <a:cubicBezTo>
                  <a:pt x="293455" y="46421"/>
                  <a:pt x="300527" y="50031"/>
                  <a:pt x="304907" y="56132"/>
                </a:cubicBezTo>
                <a:cubicBezTo>
                  <a:pt x="311388" y="47827"/>
                  <a:pt x="316326" y="43829"/>
                  <a:pt x="330522" y="43829"/>
                </a:cubicBezTo>
                <a:close/>
                <a:moveTo>
                  <a:pt x="636817" y="43676"/>
                </a:moveTo>
                <a:cubicBezTo>
                  <a:pt x="654099" y="43676"/>
                  <a:pt x="661043" y="53057"/>
                  <a:pt x="661043" y="64130"/>
                </a:cubicBezTo>
                <a:lnTo>
                  <a:pt x="637434" y="64130"/>
                </a:lnTo>
                <a:cubicBezTo>
                  <a:pt x="620306" y="64130"/>
                  <a:pt x="615677" y="71665"/>
                  <a:pt x="615677" y="90581"/>
                </a:cubicBezTo>
                <a:lnTo>
                  <a:pt x="615677" y="147481"/>
                </a:lnTo>
                <a:cubicBezTo>
                  <a:pt x="615686" y="148152"/>
                  <a:pt x="615146" y="148703"/>
                  <a:pt x="614473" y="148712"/>
                </a:cubicBezTo>
                <a:cubicBezTo>
                  <a:pt x="614463" y="148712"/>
                  <a:pt x="614453" y="148712"/>
                  <a:pt x="614443" y="148712"/>
                </a:cubicBezTo>
                <a:lnTo>
                  <a:pt x="608270" y="148712"/>
                </a:lnTo>
                <a:cubicBezTo>
                  <a:pt x="595326" y="148720"/>
                  <a:pt x="584825" y="138268"/>
                  <a:pt x="584816" y="125367"/>
                </a:cubicBezTo>
                <a:cubicBezTo>
                  <a:pt x="584816" y="125357"/>
                  <a:pt x="584816" y="125347"/>
                  <a:pt x="584816" y="125336"/>
                </a:cubicBezTo>
                <a:lnTo>
                  <a:pt x="584816" y="47674"/>
                </a:lnTo>
                <a:cubicBezTo>
                  <a:pt x="584861" y="47014"/>
                  <a:pt x="585388" y="46489"/>
                  <a:pt x="586050" y="46444"/>
                </a:cubicBezTo>
                <a:lnTo>
                  <a:pt x="592377" y="46444"/>
                </a:lnTo>
                <a:cubicBezTo>
                  <a:pt x="599805" y="46502"/>
                  <a:pt x="606777" y="50033"/>
                  <a:pt x="611202" y="55979"/>
                </a:cubicBezTo>
                <a:cubicBezTo>
                  <a:pt x="617683" y="47674"/>
                  <a:pt x="622621" y="43676"/>
                  <a:pt x="636817" y="43676"/>
                </a:cubicBezTo>
                <a:close/>
                <a:moveTo>
                  <a:pt x="199054" y="43061"/>
                </a:moveTo>
                <a:cubicBezTo>
                  <a:pt x="231613" y="43061"/>
                  <a:pt x="257227" y="67667"/>
                  <a:pt x="257227" y="97501"/>
                </a:cubicBezTo>
                <a:cubicBezTo>
                  <a:pt x="257227" y="127336"/>
                  <a:pt x="231767" y="151941"/>
                  <a:pt x="199054" y="151941"/>
                </a:cubicBezTo>
                <a:cubicBezTo>
                  <a:pt x="166496" y="151941"/>
                  <a:pt x="141190" y="127643"/>
                  <a:pt x="141190" y="97655"/>
                </a:cubicBezTo>
                <a:cubicBezTo>
                  <a:pt x="141190" y="67667"/>
                  <a:pt x="166496" y="43061"/>
                  <a:pt x="199054" y="43061"/>
                </a:cubicBezTo>
                <a:close/>
                <a:moveTo>
                  <a:pt x="1203" y="14764"/>
                </a:moveTo>
                <a:cubicBezTo>
                  <a:pt x="1214" y="14763"/>
                  <a:pt x="1224" y="14763"/>
                  <a:pt x="1235" y="14764"/>
                </a:cubicBezTo>
                <a:lnTo>
                  <a:pt x="42125" y="14764"/>
                </a:lnTo>
                <a:cubicBezTo>
                  <a:pt x="87645" y="14610"/>
                  <a:pt x="120667" y="47674"/>
                  <a:pt x="120667" y="93809"/>
                </a:cubicBezTo>
                <a:lnTo>
                  <a:pt x="120667" y="125336"/>
                </a:lnTo>
                <a:cubicBezTo>
                  <a:pt x="120743" y="138169"/>
                  <a:pt x="110367" y="148634"/>
                  <a:pt x="97490" y="148711"/>
                </a:cubicBezTo>
                <a:cubicBezTo>
                  <a:pt x="97449" y="148711"/>
                  <a:pt x="97408" y="148711"/>
                  <a:pt x="97367" y="148711"/>
                </a:cubicBezTo>
                <a:lnTo>
                  <a:pt x="97058" y="148711"/>
                </a:lnTo>
                <a:lnTo>
                  <a:pt x="89497" y="148711"/>
                </a:lnTo>
                <a:cubicBezTo>
                  <a:pt x="88824" y="148720"/>
                  <a:pt x="88271" y="148183"/>
                  <a:pt x="88263" y="147512"/>
                </a:cubicBezTo>
                <a:cubicBezTo>
                  <a:pt x="88262" y="147501"/>
                  <a:pt x="88262" y="147491"/>
                  <a:pt x="88263" y="147481"/>
                </a:cubicBezTo>
                <a:lnTo>
                  <a:pt x="88263" y="88888"/>
                </a:lnTo>
                <a:cubicBezTo>
                  <a:pt x="88263" y="56901"/>
                  <a:pt x="68666" y="34294"/>
                  <a:pt x="32250" y="34294"/>
                </a:cubicBezTo>
                <a:lnTo>
                  <a:pt x="32250" y="125182"/>
                </a:lnTo>
                <a:cubicBezTo>
                  <a:pt x="32258" y="138083"/>
                  <a:pt x="21771" y="148549"/>
                  <a:pt x="8826" y="148557"/>
                </a:cubicBezTo>
                <a:cubicBezTo>
                  <a:pt x="8816" y="148557"/>
                  <a:pt x="8806" y="148557"/>
                  <a:pt x="8795" y="148557"/>
                </a:cubicBezTo>
                <a:lnTo>
                  <a:pt x="1235" y="148557"/>
                </a:lnTo>
                <a:cubicBezTo>
                  <a:pt x="561" y="148566"/>
                  <a:pt x="9" y="148029"/>
                  <a:pt x="0" y="147358"/>
                </a:cubicBezTo>
                <a:cubicBezTo>
                  <a:pt x="0" y="147348"/>
                  <a:pt x="0" y="147337"/>
                  <a:pt x="0" y="147327"/>
                </a:cubicBezTo>
                <a:lnTo>
                  <a:pt x="0" y="15994"/>
                </a:lnTo>
                <a:cubicBezTo>
                  <a:pt x="-8" y="15323"/>
                  <a:pt x="530" y="14772"/>
                  <a:pt x="1203" y="14764"/>
                </a:cubicBezTo>
                <a:close/>
                <a:moveTo>
                  <a:pt x="411347" y="0"/>
                </a:moveTo>
                <a:cubicBezTo>
                  <a:pt x="411358" y="0"/>
                  <a:pt x="411367" y="0"/>
                  <a:pt x="411378" y="0"/>
                </a:cubicBezTo>
                <a:lnTo>
                  <a:pt x="417704" y="0"/>
                </a:lnTo>
                <a:cubicBezTo>
                  <a:pt x="418366" y="45"/>
                  <a:pt x="418894" y="570"/>
                  <a:pt x="418939" y="1230"/>
                </a:cubicBezTo>
                <a:lnTo>
                  <a:pt x="418939" y="46290"/>
                </a:lnTo>
                <a:lnTo>
                  <a:pt x="442702" y="46290"/>
                </a:lnTo>
                <a:cubicBezTo>
                  <a:pt x="442702" y="57362"/>
                  <a:pt x="433752" y="64282"/>
                  <a:pt x="422796" y="64282"/>
                </a:cubicBezTo>
                <a:lnTo>
                  <a:pt x="418784" y="64282"/>
                </a:lnTo>
                <a:lnTo>
                  <a:pt x="418784" y="125335"/>
                </a:lnTo>
                <a:cubicBezTo>
                  <a:pt x="418794" y="138237"/>
                  <a:pt x="408305" y="148702"/>
                  <a:pt x="395361" y="148711"/>
                </a:cubicBezTo>
                <a:cubicBezTo>
                  <a:pt x="395350" y="148711"/>
                  <a:pt x="395341" y="148711"/>
                  <a:pt x="395330" y="148711"/>
                </a:cubicBezTo>
                <a:lnTo>
                  <a:pt x="389158" y="148711"/>
                </a:lnTo>
                <a:cubicBezTo>
                  <a:pt x="388485" y="148720"/>
                  <a:pt x="387933" y="148183"/>
                  <a:pt x="387923" y="147512"/>
                </a:cubicBezTo>
                <a:cubicBezTo>
                  <a:pt x="387923" y="147501"/>
                  <a:pt x="387923" y="147491"/>
                  <a:pt x="387923" y="147481"/>
                </a:cubicBezTo>
                <a:lnTo>
                  <a:pt x="387923" y="64282"/>
                </a:lnTo>
                <a:lnTo>
                  <a:pt x="364006" y="64282"/>
                </a:lnTo>
                <a:cubicBezTo>
                  <a:pt x="364006" y="53364"/>
                  <a:pt x="372801" y="46443"/>
                  <a:pt x="383911" y="46443"/>
                </a:cubicBezTo>
                <a:lnTo>
                  <a:pt x="387923" y="46443"/>
                </a:lnTo>
                <a:lnTo>
                  <a:pt x="387923" y="23375"/>
                </a:lnTo>
                <a:cubicBezTo>
                  <a:pt x="387914" y="10474"/>
                  <a:pt x="398402" y="9"/>
                  <a:pt x="411347" y="0"/>
                </a:cubicBezTo>
                <a:close/>
              </a:path>
            </a:pathLst>
          </a:custGeom>
          <a:solidFill>
            <a:schemeClr val="bg1"/>
          </a:solidFill>
          <a:ln w="1543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11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decel="50000" autoRev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800000">
                                      <p:cBhvr>
                                        <p:cTn id="6" dur="3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orient="horz" pos="4320">
          <p15:clr>
            <a:srgbClr val="FBAE40"/>
          </p15:clr>
        </p15:guide>
        <p15:guide id="3" pos="7680">
          <p15:clr>
            <a:srgbClr val="FBAE40"/>
          </p15:clr>
        </p15:guide>
        <p15:guide id="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Title placeholder + image placehol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39693081-AB61-0040-996A-C1D0F6B4D8B0}"/>
              </a:ext>
            </a:extLst>
          </p:cNvPr>
          <p:cNvSpPr/>
          <p:nvPr userDrawn="1"/>
        </p:nvSpPr>
        <p:spPr>
          <a:xfrm>
            <a:off x="11052810" y="6263640"/>
            <a:ext cx="1139190" cy="59436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28466DD1-39CE-6C4A-A1E6-D55DD37D5D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963" y="966487"/>
            <a:ext cx="5266037" cy="4750572"/>
          </a:xfrm>
        </p:spPr>
        <p:txBody>
          <a:bodyPr anchor="ctr"/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9" name="Plassholder for bilde 38">
            <a:extLst>
              <a:ext uri="{FF2B5EF4-FFF2-40B4-BE49-F238E27FC236}">
                <a16:creationId xmlns:a16="http://schemas.microsoft.com/office/drawing/2014/main" id="{2962C280-1D47-3347-A0EE-50F9D3679F4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43610" y="0"/>
            <a:ext cx="5648390" cy="6858000"/>
          </a:xfrm>
          <a:custGeom>
            <a:avLst/>
            <a:gdLst>
              <a:gd name="connsiteX0" fmla="*/ 4726668 w 5648390"/>
              <a:gd name="connsiteY0" fmla="*/ 6415833 h 6858000"/>
              <a:gd name="connsiteX1" fmla="*/ 4752283 w 5648390"/>
              <a:gd name="connsiteY1" fmla="*/ 6451973 h 6858000"/>
              <a:gd name="connsiteX2" fmla="*/ 4726668 w 5648390"/>
              <a:gd name="connsiteY2" fmla="*/ 6488113 h 6858000"/>
              <a:gd name="connsiteX3" fmla="*/ 4701208 w 5648390"/>
              <a:gd name="connsiteY3" fmla="*/ 6451973 h 6858000"/>
              <a:gd name="connsiteX4" fmla="*/ 4726668 w 5648390"/>
              <a:gd name="connsiteY4" fmla="*/ 6415833 h 6858000"/>
              <a:gd name="connsiteX5" fmla="*/ 5204087 w 5648390"/>
              <a:gd name="connsiteY5" fmla="*/ 6400608 h 6858000"/>
              <a:gd name="connsiteX6" fmla="*/ 5204087 w 5648390"/>
              <a:gd name="connsiteY6" fmla="*/ 6400916 h 6858000"/>
              <a:gd name="connsiteX7" fmla="*/ 5204089 w 5648390"/>
              <a:gd name="connsiteY7" fmla="*/ 6400980 h 6858000"/>
              <a:gd name="connsiteX8" fmla="*/ 5223838 w 5648390"/>
              <a:gd name="connsiteY8" fmla="*/ 6420139 h 6858000"/>
              <a:gd name="connsiteX9" fmla="*/ 5234640 w 5648390"/>
              <a:gd name="connsiteY9" fmla="*/ 6420139 h 6858000"/>
              <a:gd name="connsiteX10" fmla="*/ 5268278 w 5648390"/>
              <a:gd name="connsiteY10" fmla="*/ 6453664 h 6858000"/>
              <a:gd name="connsiteX11" fmla="*/ 5268278 w 5648390"/>
              <a:gd name="connsiteY11" fmla="*/ 6484114 h 6858000"/>
              <a:gd name="connsiteX12" fmla="*/ 5236029 w 5648390"/>
              <a:gd name="connsiteY12" fmla="*/ 6484114 h 6858000"/>
              <a:gd name="connsiteX13" fmla="*/ 5223376 w 5648390"/>
              <a:gd name="connsiteY13" fmla="*/ 6471503 h 6858000"/>
              <a:gd name="connsiteX14" fmla="*/ 5223376 w 5648390"/>
              <a:gd name="connsiteY14" fmla="*/ 6471042 h 6858000"/>
              <a:gd name="connsiteX15" fmla="*/ 5223376 w 5648390"/>
              <a:gd name="connsiteY15" fmla="*/ 6471034 h 6858000"/>
              <a:gd name="connsiteX16" fmla="*/ 5236029 w 5648390"/>
              <a:gd name="connsiteY16" fmla="*/ 6459047 h 6858000"/>
              <a:gd name="connsiteX17" fmla="*/ 5254545 w 5648390"/>
              <a:gd name="connsiteY17" fmla="*/ 6459047 h 6858000"/>
              <a:gd name="connsiteX18" fmla="*/ 5254545 w 5648390"/>
              <a:gd name="connsiteY18" fmla="*/ 6457816 h 6858000"/>
              <a:gd name="connsiteX19" fmla="*/ 5235566 w 5648390"/>
              <a:gd name="connsiteY19" fmla="*/ 6440131 h 6858000"/>
              <a:gd name="connsiteX20" fmla="*/ 5232942 w 5648390"/>
              <a:gd name="connsiteY20" fmla="*/ 6440131 h 6858000"/>
              <a:gd name="connsiteX21" fmla="*/ 5191743 w 5648390"/>
              <a:gd name="connsiteY21" fmla="*/ 6471503 h 6858000"/>
              <a:gd name="connsiteX22" fmla="*/ 5231091 w 5648390"/>
              <a:gd name="connsiteY22" fmla="*/ 6503029 h 6858000"/>
              <a:gd name="connsiteX23" fmla="*/ 5297442 w 5648390"/>
              <a:gd name="connsiteY23" fmla="*/ 6503029 h 6858000"/>
              <a:gd name="connsiteX24" fmla="*/ 5298831 w 5648390"/>
              <a:gd name="connsiteY24" fmla="*/ 6501645 h 6858000"/>
              <a:gd name="connsiteX25" fmla="*/ 5298831 w 5648390"/>
              <a:gd name="connsiteY25" fmla="*/ 6457663 h 6858000"/>
              <a:gd name="connsiteX26" fmla="*/ 5236646 w 5648390"/>
              <a:gd name="connsiteY26" fmla="*/ 6400608 h 6858000"/>
              <a:gd name="connsiteX27" fmla="*/ 5003768 w 5648390"/>
              <a:gd name="connsiteY27" fmla="*/ 6400608 h 6858000"/>
              <a:gd name="connsiteX28" fmla="*/ 4980345 w 5648390"/>
              <a:gd name="connsiteY28" fmla="*/ 6423983 h 6858000"/>
              <a:gd name="connsiteX29" fmla="*/ 4980345 w 5648390"/>
              <a:gd name="connsiteY29" fmla="*/ 6459662 h 6858000"/>
              <a:gd name="connsiteX30" fmla="*/ 5032500 w 5648390"/>
              <a:gd name="connsiteY30" fmla="*/ 6506413 h 6858000"/>
              <a:gd name="connsiteX31" fmla="*/ 5084501 w 5648390"/>
              <a:gd name="connsiteY31" fmla="*/ 6459508 h 6858000"/>
              <a:gd name="connsiteX32" fmla="*/ 5084501 w 5648390"/>
              <a:gd name="connsiteY32" fmla="*/ 6401684 h 6858000"/>
              <a:gd name="connsiteX33" fmla="*/ 5083112 w 5648390"/>
              <a:gd name="connsiteY33" fmla="*/ 6400608 h 6858000"/>
              <a:gd name="connsiteX34" fmla="*/ 5077557 w 5648390"/>
              <a:gd name="connsiteY34" fmla="*/ 6400608 h 6858000"/>
              <a:gd name="connsiteX35" fmla="*/ 5077526 w 5648390"/>
              <a:gd name="connsiteY35" fmla="*/ 6400608 h 6858000"/>
              <a:gd name="connsiteX36" fmla="*/ 5054103 w 5648390"/>
              <a:gd name="connsiteY36" fmla="*/ 6423983 h 6858000"/>
              <a:gd name="connsiteX37" fmla="*/ 5054103 w 5648390"/>
              <a:gd name="connsiteY37" fmla="*/ 6461968 h 6858000"/>
              <a:gd name="connsiteX38" fmla="*/ 5032346 w 5648390"/>
              <a:gd name="connsiteY38" fmla="*/ 6486574 h 6858000"/>
              <a:gd name="connsiteX39" fmla="*/ 5010589 w 5648390"/>
              <a:gd name="connsiteY39" fmla="*/ 6461968 h 6858000"/>
              <a:gd name="connsiteX40" fmla="*/ 5010589 w 5648390"/>
              <a:gd name="connsiteY40" fmla="*/ 6401838 h 6858000"/>
              <a:gd name="connsiteX41" fmla="*/ 5009354 w 5648390"/>
              <a:gd name="connsiteY41" fmla="*/ 6400608 h 6858000"/>
              <a:gd name="connsiteX42" fmla="*/ 5003799 w 5648390"/>
              <a:gd name="connsiteY42" fmla="*/ 6400608 h 6858000"/>
              <a:gd name="connsiteX43" fmla="*/ 5003768 w 5648390"/>
              <a:gd name="connsiteY43" fmla="*/ 6400608 h 6858000"/>
              <a:gd name="connsiteX44" fmla="*/ 4858136 w 5648390"/>
              <a:gd name="connsiteY44" fmla="*/ 6398147 h 6858000"/>
              <a:gd name="connsiteX45" fmla="*/ 4832521 w 5648390"/>
              <a:gd name="connsiteY45" fmla="*/ 6410450 h 6858000"/>
              <a:gd name="connsiteX46" fmla="*/ 4813542 w 5648390"/>
              <a:gd name="connsiteY46" fmla="*/ 6400761 h 6858000"/>
              <a:gd name="connsiteX47" fmla="*/ 4807215 w 5648390"/>
              <a:gd name="connsiteY47" fmla="*/ 6400761 h 6858000"/>
              <a:gd name="connsiteX48" fmla="*/ 4805981 w 5648390"/>
              <a:gd name="connsiteY48" fmla="*/ 6401992 h 6858000"/>
              <a:gd name="connsiteX49" fmla="*/ 4805981 w 5648390"/>
              <a:gd name="connsiteY49" fmla="*/ 6479654 h 6858000"/>
              <a:gd name="connsiteX50" fmla="*/ 4805981 w 5648390"/>
              <a:gd name="connsiteY50" fmla="*/ 6479684 h 6858000"/>
              <a:gd name="connsiteX51" fmla="*/ 4829435 w 5648390"/>
              <a:gd name="connsiteY51" fmla="*/ 6503029 h 6858000"/>
              <a:gd name="connsiteX52" fmla="*/ 4835762 w 5648390"/>
              <a:gd name="connsiteY52" fmla="*/ 6503029 h 6858000"/>
              <a:gd name="connsiteX53" fmla="*/ 4835793 w 5648390"/>
              <a:gd name="connsiteY53" fmla="*/ 6503029 h 6858000"/>
              <a:gd name="connsiteX54" fmla="*/ 4836996 w 5648390"/>
              <a:gd name="connsiteY54" fmla="*/ 6501799 h 6858000"/>
              <a:gd name="connsiteX55" fmla="*/ 4836996 w 5648390"/>
              <a:gd name="connsiteY55" fmla="*/ 6444898 h 6858000"/>
              <a:gd name="connsiteX56" fmla="*/ 4858753 w 5648390"/>
              <a:gd name="connsiteY56" fmla="*/ 6418447 h 6858000"/>
              <a:gd name="connsiteX57" fmla="*/ 4881436 w 5648390"/>
              <a:gd name="connsiteY57" fmla="*/ 6418601 h 6858000"/>
              <a:gd name="connsiteX58" fmla="*/ 4858136 w 5648390"/>
              <a:gd name="connsiteY58" fmla="*/ 6398147 h 6858000"/>
              <a:gd name="connsiteX59" fmla="*/ 5164431 w 5648390"/>
              <a:gd name="connsiteY59" fmla="*/ 6397994 h 6858000"/>
              <a:gd name="connsiteX60" fmla="*/ 5138816 w 5648390"/>
              <a:gd name="connsiteY60" fmla="*/ 6410297 h 6858000"/>
              <a:gd name="connsiteX61" fmla="*/ 5119991 w 5648390"/>
              <a:gd name="connsiteY61" fmla="*/ 6400762 h 6858000"/>
              <a:gd name="connsiteX62" fmla="*/ 5113664 w 5648390"/>
              <a:gd name="connsiteY62" fmla="*/ 6400762 h 6858000"/>
              <a:gd name="connsiteX63" fmla="*/ 5112430 w 5648390"/>
              <a:gd name="connsiteY63" fmla="*/ 6401992 h 6858000"/>
              <a:gd name="connsiteX64" fmla="*/ 5112430 w 5648390"/>
              <a:gd name="connsiteY64" fmla="*/ 6479654 h 6858000"/>
              <a:gd name="connsiteX65" fmla="*/ 5112430 w 5648390"/>
              <a:gd name="connsiteY65" fmla="*/ 6479685 h 6858000"/>
              <a:gd name="connsiteX66" fmla="*/ 5135884 w 5648390"/>
              <a:gd name="connsiteY66" fmla="*/ 6503030 h 6858000"/>
              <a:gd name="connsiteX67" fmla="*/ 5142057 w 5648390"/>
              <a:gd name="connsiteY67" fmla="*/ 6503030 h 6858000"/>
              <a:gd name="connsiteX68" fmla="*/ 5142087 w 5648390"/>
              <a:gd name="connsiteY68" fmla="*/ 6503030 h 6858000"/>
              <a:gd name="connsiteX69" fmla="*/ 5143291 w 5648390"/>
              <a:gd name="connsiteY69" fmla="*/ 6501799 h 6858000"/>
              <a:gd name="connsiteX70" fmla="*/ 5143291 w 5648390"/>
              <a:gd name="connsiteY70" fmla="*/ 6444899 h 6858000"/>
              <a:gd name="connsiteX71" fmla="*/ 5165048 w 5648390"/>
              <a:gd name="connsiteY71" fmla="*/ 6418448 h 6858000"/>
              <a:gd name="connsiteX72" fmla="*/ 5188657 w 5648390"/>
              <a:gd name="connsiteY72" fmla="*/ 6418448 h 6858000"/>
              <a:gd name="connsiteX73" fmla="*/ 5164431 w 5648390"/>
              <a:gd name="connsiteY73" fmla="*/ 6397994 h 6858000"/>
              <a:gd name="connsiteX74" fmla="*/ 4726668 w 5648390"/>
              <a:gd name="connsiteY74" fmla="*/ 6397379 h 6858000"/>
              <a:gd name="connsiteX75" fmla="*/ 4668804 w 5648390"/>
              <a:gd name="connsiteY75" fmla="*/ 6451973 h 6858000"/>
              <a:gd name="connsiteX76" fmla="*/ 4726668 w 5648390"/>
              <a:gd name="connsiteY76" fmla="*/ 6506259 h 6858000"/>
              <a:gd name="connsiteX77" fmla="*/ 4784841 w 5648390"/>
              <a:gd name="connsiteY77" fmla="*/ 6451819 h 6858000"/>
              <a:gd name="connsiteX78" fmla="*/ 4726668 w 5648390"/>
              <a:gd name="connsiteY78" fmla="*/ 6397379 h 6858000"/>
              <a:gd name="connsiteX79" fmla="*/ 4528817 w 5648390"/>
              <a:gd name="connsiteY79" fmla="*/ 6369082 h 6858000"/>
              <a:gd name="connsiteX80" fmla="*/ 4527614 w 5648390"/>
              <a:gd name="connsiteY80" fmla="*/ 6370312 h 6858000"/>
              <a:gd name="connsiteX81" fmla="*/ 4527614 w 5648390"/>
              <a:gd name="connsiteY81" fmla="*/ 6501645 h 6858000"/>
              <a:gd name="connsiteX82" fmla="*/ 4527614 w 5648390"/>
              <a:gd name="connsiteY82" fmla="*/ 6501676 h 6858000"/>
              <a:gd name="connsiteX83" fmla="*/ 4528849 w 5648390"/>
              <a:gd name="connsiteY83" fmla="*/ 6502875 h 6858000"/>
              <a:gd name="connsiteX84" fmla="*/ 4536409 w 5648390"/>
              <a:gd name="connsiteY84" fmla="*/ 6502875 h 6858000"/>
              <a:gd name="connsiteX85" fmla="*/ 4536440 w 5648390"/>
              <a:gd name="connsiteY85" fmla="*/ 6502875 h 6858000"/>
              <a:gd name="connsiteX86" fmla="*/ 4559864 w 5648390"/>
              <a:gd name="connsiteY86" fmla="*/ 6479500 h 6858000"/>
              <a:gd name="connsiteX87" fmla="*/ 4559864 w 5648390"/>
              <a:gd name="connsiteY87" fmla="*/ 6388612 h 6858000"/>
              <a:gd name="connsiteX88" fmla="*/ 4615877 w 5648390"/>
              <a:gd name="connsiteY88" fmla="*/ 6443206 h 6858000"/>
              <a:gd name="connsiteX89" fmla="*/ 4615877 w 5648390"/>
              <a:gd name="connsiteY89" fmla="*/ 6501799 h 6858000"/>
              <a:gd name="connsiteX90" fmla="*/ 4615877 w 5648390"/>
              <a:gd name="connsiteY90" fmla="*/ 6501830 h 6858000"/>
              <a:gd name="connsiteX91" fmla="*/ 4617111 w 5648390"/>
              <a:gd name="connsiteY91" fmla="*/ 6503029 h 6858000"/>
              <a:gd name="connsiteX92" fmla="*/ 4624672 w 5648390"/>
              <a:gd name="connsiteY92" fmla="*/ 6503029 h 6858000"/>
              <a:gd name="connsiteX93" fmla="*/ 4624981 w 5648390"/>
              <a:gd name="connsiteY93" fmla="*/ 6503029 h 6858000"/>
              <a:gd name="connsiteX94" fmla="*/ 4625104 w 5648390"/>
              <a:gd name="connsiteY94" fmla="*/ 6503029 h 6858000"/>
              <a:gd name="connsiteX95" fmla="*/ 4648281 w 5648390"/>
              <a:gd name="connsiteY95" fmla="*/ 6479654 h 6858000"/>
              <a:gd name="connsiteX96" fmla="*/ 4648281 w 5648390"/>
              <a:gd name="connsiteY96" fmla="*/ 6448127 h 6858000"/>
              <a:gd name="connsiteX97" fmla="*/ 4569739 w 5648390"/>
              <a:gd name="connsiteY97" fmla="*/ 6369082 h 6858000"/>
              <a:gd name="connsiteX98" fmla="*/ 4528849 w 5648390"/>
              <a:gd name="connsiteY98" fmla="*/ 6369082 h 6858000"/>
              <a:gd name="connsiteX99" fmla="*/ 4528817 w 5648390"/>
              <a:gd name="connsiteY99" fmla="*/ 6369082 h 6858000"/>
              <a:gd name="connsiteX100" fmla="*/ 4938961 w 5648390"/>
              <a:gd name="connsiteY100" fmla="*/ 6354318 h 6858000"/>
              <a:gd name="connsiteX101" fmla="*/ 4915537 w 5648390"/>
              <a:gd name="connsiteY101" fmla="*/ 6377693 h 6858000"/>
              <a:gd name="connsiteX102" fmla="*/ 4915537 w 5648390"/>
              <a:gd name="connsiteY102" fmla="*/ 6400761 h 6858000"/>
              <a:gd name="connsiteX103" fmla="*/ 4911525 w 5648390"/>
              <a:gd name="connsiteY103" fmla="*/ 6400761 h 6858000"/>
              <a:gd name="connsiteX104" fmla="*/ 4891620 w 5648390"/>
              <a:gd name="connsiteY104" fmla="*/ 6418600 h 6858000"/>
              <a:gd name="connsiteX105" fmla="*/ 4915537 w 5648390"/>
              <a:gd name="connsiteY105" fmla="*/ 6418600 h 6858000"/>
              <a:gd name="connsiteX106" fmla="*/ 4915537 w 5648390"/>
              <a:gd name="connsiteY106" fmla="*/ 6501799 h 6858000"/>
              <a:gd name="connsiteX107" fmla="*/ 4915537 w 5648390"/>
              <a:gd name="connsiteY107" fmla="*/ 6501830 h 6858000"/>
              <a:gd name="connsiteX108" fmla="*/ 4916772 w 5648390"/>
              <a:gd name="connsiteY108" fmla="*/ 6503029 h 6858000"/>
              <a:gd name="connsiteX109" fmla="*/ 4922944 w 5648390"/>
              <a:gd name="connsiteY109" fmla="*/ 6503029 h 6858000"/>
              <a:gd name="connsiteX110" fmla="*/ 4922975 w 5648390"/>
              <a:gd name="connsiteY110" fmla="*/ 6503029 h 6858000"/>
              <a:gd name="connsiteX111" fmla="*/ 4946398 w 5648390"/>
              <a:gd name="connsiteY111" fmla="*/ 6479653 h 6858000"/>
              <a:gd name="connsiteX112" fmla="*/ 4946398 w 5648390"/>
              <a:gd name="connsiteY112" fmla="*/ 6418600 h 6858000"/>
              <a:gd name="connsiteX113" fmla="*/ 4950410 w 5648390"/>
              <a:gd name="connsiteY113" fmla="*/ 6418600 h 6858000"/>
              <a:gd name="connsiteX114" fmla="*/ 4970316 w 5648390"/>
              <a:gd name="connsiteY114" fmla="*/ 6400608 h 6858000"/>
              <a:gd name="connsiteX115" fmla="*/ 4946553 w 5648390"/>
              <a:gd name="connsiteY115" fmla="*/ 6400608 h 6858000"/>
              <a:gd name="connsiteX116" fmla="*/ 4946553 w 5648390"/>
              <a:gd name="connsiteY116" fmla="*/ 6355548 h 6858000"/>
              <a:gd name="connsiteX117" fmla="*/ 4945318 w 5648390"/>
              <a:gd name="connsiteY117" fmla="*/ 6354318 h 6858000"/>
              <a:gd name="connsiteX118" fmla="*/ 4938992 w 5648390"/>
              <a:gd name="connsiteY118" fmla="*/ 6354318 h 6858000"/>
              <a:gd name="connsiteX119" fmla="*/ 4938961 w 5648390"/>
              <a:gd name="connsiteY119" fmla="*/ 6354318 h 6858000"/>
              <a:gd name="connsiteX120" fmla="*/ 1347013 w 5648390"/>
              <a:gd name="connsiteY120" fmla="*/ 0 h 6858000"/>
              <a:gd name="connsiteX121" fmla="*/ 5648390 w 5648390"/>
              <a:gd name="connsiteY121" fmla="*/ 0 h 6858000"/>
              <a:gd name="connsiteX122" fmla="*/ 5648390 w 5648390"/>
              <a:gd name="connsiteY122" fmla="*/ 6858000 h 6858000"/>
              <a:gd name="connsiteX123" fmla="*/ 2832054 w 5648390"/>
              <a:gd name="connsiteY123" fmla="*/ 6858000 h 6858000"/>
              <a:gd name="connsiteX124" fmla="*/ 2542780 w 5648390"/>
              <a:gd name="connsiteY124" fmla="*/ 6704098 h 6858000"/>
              <a:gd name="connsiteX125" fmla="*/ 612373 w 5648390"/>
              <a:gd name="connsiteY125" fmla="*/ 4803027 h 6858000"/>
              <a:gd name="connsiteX126" fmla="*/ 1347013 w 5648390"/>
              <a:gd name="connsiteY12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5648390" h="6858000">
                <a:moveTo>
                  <a:pt x="4726668" y="6415833"/>
                </a:moveTo>
                <a:cubicBezTo>
                  <a:pt x="4740864" y="6415833"/>
                  <a:pt x="4752283" y="6431981"/>
                  <a:pt x="4752283" y="6451973"/>
                </a:cubicBezTo>
                <a:cubicBezTo>
                  <a:pt x="4752283" y="6471965"/>
                  <a:pt x="4740710" y="6488113"/>
                  <a:pt x="4726668" y="6488113"/>
                </a:cubicBezTo>
                <a:cubicBezTo>
                  <a:pt x="4712627" y="6488113"/>
                  <a:pt x="4701208" y="6471965"/>
                  <a:pt x="4701208" y="6451973"/>
                </a:cubicBezTo>
                <a:cubicBezTo>
                  <a:pt x="4701208" y="6431981"/>
                  <a:pt x="4712627" y="6415833"/>
                  <a:pt x="4726668" y="6415833"/>
                </a:cubicBezTo>
                <a:close/>
                <a:moveTo>
                  <a:pt x="5204087" y="6400608"/>
                </a:moveTo>
                <a:lnTo>
                  <a:pt x="5204087" y="6400916"/>
                </a:lnTo>
                <a:cubicBezTo>
                  <a:pt x="5204087" y="6400937"/>
                  <a:pt x="5204087" y="6400958"/>
                  <a:pt x="5204089" y="6400980"/>
                </a:cubicBezTo>
                <a:cubicBezTo>
                  <a:pt x="5204234" y="6411706"/>
                  <a:pt x="5213076" y="6420284"/>
                  <a:pt x="5223838" y="6420139"/>
                </a:cubicBezTo>
                <a:lnTo>
                  <a:pt x="5234640" y="6420139"/>
                </a:lnTo>
                <a:cubicBezTo>
                  <a:pt x="5256860" y="6420139"/>
                  <a:pt x="5268278" y="6432903"/>
                  <a:pt x="5268278" y="6453664"/>
                </a:cubicBezTo>
                <a:lnTo>
                  <a:pt x="5268278" y="6484114"/>
                </a:lnTo>
                <a:lnTo>
                  <a:pt x="5236029" y="6484114"/>
                </a:lnTo>
                <a:cubicBezTo>
                  <a:pt x="5229054" y="6484080"/>
                  <a:pt x="5223409" y="6478454"/>
                  <a:pt x="5223376" y="6471503"/>
                </a:cubicBezTo>
                <a:lnTo>
                  <a:pt x="5223376" y="6471042"/>
                </a:lnTo>
                <a:cubicBezTo>
                  <a:pt x="5223376" y="6471039"/>
                  <a:pt x="5223376" y="6471037"/>
                  <a:pt x="5223376" y="6471034"/>
                </a:cubicBezTo>
                <a:cubicBezTo>
                  <a:pt x="5223548" y="6464242"/>
                  <a:pt x="5229213" y="6458875"/>
                  <a:pt x="5236029" y="6459047"/>
                </a:cubicBezTo>
                <a:lnTo>
                  <a:pt x="5254545" y="6459047"/>
                </a:lnTo>
                <a:lnTo>
                  <a:pt x="5254545" y="6457816"/>
                </a:lnTo>
                <a:cubicBezTo>
                  <a:pt x="5254127" y="6447744"/>
                  <a:pt x="5245677" y="6439870"/>
                  <a:pt x="5235566" y="6440131"/>
                </a:cubicBezTo>
                <a:lnTo>
                  <a:pt x="5232942" y="6440131"/>
                </a:lnTo>
                <a:cubicBezTo>
                  <a:pt x="5209179" y="6440131"/>
                  <a:pt x="5191743" y="6454125"/>
                  <a:pt x="5191743" y="6471503"/>
                </a:cubicBezTo>
                <a:cubicBezTo>
                  <a:pt x="5191743" y="6488881"/>
                  <a:pt x="5208871" y="6503029"/>
                  <a:pt x="5231091" y="6503029"/>
                </a:cubicBezTo>
                <a:lnTo>
                  <a:pt x="5297442" y="6503029"/>
                </a:lnTo>
                <a:cubicBezTo>
                  <a:pt x="5298213" y="6503029"/>
                  <a:pt x="5298676" y="6502414"/>
                  <a:pt x="5298831" y="6501645"/>
                </a:cubicBezTo>
                <a:lnTo>
                  <a:pt x="5298831" y="6457663"/>
                </a:lnTo>
                <a:cubicBezTo>
                  <a:pt x="5298831" y="6422446"/>
                  <a:pt x="5280160" y="6400608"/>
                  <a:pt x="5236646" y="6400608"/>
                </a:cubicBezTo>
                <a:close/>
                <a:moveTo>
                  <a:pt x="5003768" y="6400608"/>
                </a:moveTo>
                <a:cubicBezTo>
                  <a:pt x="4990824" y="6400616"/>
                  <a:pt x="4980336" y="6411082"/>
                  <a:pt x="4980345" y="6423983"/>
                </a:cubicBezTo>
                <a:lnTo>
                  <a:pt x="4980345" y="6459662"/>
                </a:lnTo>
                <a:cubicBezTo>
                  <a:pt x="4980345" y="6485959"/>
                  <a:pt x="5003645" y="6506413"/>
                  <a:pt x="5032500" y="6506413"/>
                </a:cubicBezTo>
                <a:cubicBezTo>
                  <a:pt x="5061355" y="6506413"/>
                  <a:pt x="5084655" y="6486113"/>
                  <a:pt x="5084501" y="6459508"/>
                </a:cubicBezTo>
                <a:lnTo>
                  <a:pt x="5084501" y="6401684"/>
                </a:lnTo>
                <a:cubicBezTo>
                  <a:pt x="5084347" y="6401069"/>
                  <a:pt x="5083729" y="6400454"/>
                  <a:pt x="5083112" y="6400608"/>
                </a:cubicBezTo>
                <a:lnTo>
                  <a:pt x="5077557" y="6400608"/>
                </a:lnTo>
                <a:cubicBezTo>
                  <a:pt x="5077546" y="6400608"/>
                  <a:pt x="5077537" y="6400608"/>
                  <a:pt x="5077526" y="6400608"/>
                </a:cubicBezTo>
                <a:cubicBezTo>
                  <a:pt x="5064582" y="6400616"/>
                  <a:pt x="5054094" y="6411082"/>
                  <a:pt x="5054103" y="6423983"/>
                </a:cubicBezTo>
                <a:lnTo>
                  <a:pt x="5054103" y="6461968"/>
                </a:lnTo>
                <a:cubicBezTo>
                  <a:pt x="5054103" y="6475809"/>
                  <a:pt x="5044382" y="6486574"/>
                  <a:pt x="5032346" y="6486574"/>
                </a:cubicBezTo>
                <a:cubicBezTo>
                  <a:pt x="5020310" y="6486574"/>
                  <a:pt x="5010589" y="6475963"/>
                  <a:pt x="5010589" y="6461968"/>
                </a:cubicBezTo>
                <a:lnTo>
                  <a:pt x="5010589" y="6401838"/>
                </a:lnTo>
                <a:cubicBezTo>
                  <a:pt x="5010544" y="6401178"/>
                  <a:pt x="5010016" y="6400652"/>
                  <a:pt x="5009354" y="6400608"/>
                </a:cubicBezTo>
                <a:lnTo>
                  <a:pt x="5003799" y="6400608"/>
                </a:lnTo>
                <a:cubicBezTo>
                  <a:pt x="5003789" y="6400608"/>
                  <a:pt x="5003779" y="6400608"/>
                  <a:pt x="5003768" y="6400608"/>
                </a:cubicBezTo>
                <a:close/>
                <a:moveTo>
                  <a:pt x="4858136" y="6398147"/>
                </a:moveTo>
                <a:cubicBezTo>
                  <a:pt x="4843940" y="6398147"/>
                  <a:pt x="4839002" y="6402145"/>
                  <a:pt x="4832521" y="6410450"/>
                </a:cubicBezTo>
                <a:cubicBezTo>
                  <a:pt x="4828141" y="6404349"/>
                  <a:pt x="4821069" y="6400739"/>
                  <a:pt x="4813542" y="6400761"/>
                </a:cubicBezTo>
                <a:lnTo>
                  <a:pt x="4807215" y="6400761"/>
                </a:lnTo>
                <a:cubicBezTo>
                  <a:pt x="4806553" y="6400806"/>
                  <a:pt x="4806026" y="6401332"/>
                  <a:pt x="4805981" y="6401992"/>
                </a:cubicBezTo>
                <a:lnTo>
                  <a:pt x="4805981" y="6479654"/>
                </a:lnTo>
                <a:cubicBezTo>
                  <a:pt x="4805981" y="6479664"/>
                  <a:pt x="4805981" y="6479674"/>
                  <a:pt x="4805981" y="6479684"/>
                </a:cubicBezTo>
                <a:cubicBezTo>
                  <a:pt x="4805990" y="6492586"/>
                  <a:pt x="4816491" y="6503037"/>
                  <a:pt x="4829435" y="6503029"/>
                </a:cubicBezTo>
                <a:lnTo>
                  <a:pt x="4835762" y="6503029"/>
                </a:lnTo>
                <a:cubicBezTo>
                  <a:pt x="4835773" y="6503029"/>
                  <a:pt x="4835782" y="6503029"/>
                  <a:pt x="4835793" y="6503029"/>
                </a:cubicBezTo>
                <a:cubicBezTo>
                  <a:pt x="4836466" y="6503020"/>
                  <a:pt x="4837006" y="6502470"/>
                  <a:pt x="4836996" y="6501799"/>
                </a:cubicBezTo>
                <a:lnTo>
                  <a:pt x="4836996" y="6444898"/>
                </a:lnTo>
                <a:cubicBezTo>
                  <a:pt x="4836996" y="6425982"/>
                  <a:pt x="4841471" y="6418447"/>
                  <a:pt x="4858753" y="6418447"/>
                </a:cubicBezTo>
                <a:lnTo>
                  <a:pt x="4881436" y="6418601"/>
                </a:lnTo>
                <a:cubicBezTo>
                  <a:pt x="4881436" y="6407528"/>
                  <a:pt x="4875418" y="6398147"/>
                  <a:pt x="4858136" y="6398147"/>
                </a:cubicBezTo>
                <a:close/>
                <a:moveTo>
                  <a:pt x="5164431" y="6397994"/>
                </a:moveTo>
                <a:cubicBezTo>
                  <a:pt x="5150235" y="6397994"/>
                  <a:pt x="5145297" y="6401992"/>
                  <a:pt x="5138816" y="6410297"/>
                </a:cubicBezTo>
                <a:cubicBezTo>
                  <a:pt x="5134391" y="6404351"/>
                  <a:pt x="5127419" y="6400820"/>
                  <a:pt x="5119991" y="6400762"/>
                </a:cubicBezTo>
                <a:lnTo>
                  <a:pt x="5113664" y="6400762"/>
                </a:lnTo>
                <a:cubicBezTo>
                  <a:pt x="5113002" y="6400807"/>
                  <a:pt x="5112475" y="6401332"/>
                  <a:pt x="5112430" y="6401992"/>
                </a:cubicBezTo>
                <a:lnTo>
                  <a:pt x="5112430" y="6479654"/>
                </a:lnTo>
                <a:cubicBezTo>
                  <a:pt x="5112430" y="6479665"/>
                  <a:pt x="5112430" y="6479675"/>
                  <a:pt x="5112430" y="6479685"/>
                </a:cubicBezTo>
                <a:cubicBezTo>
                  <a:pt x="5112439" y="6492586"/>
                  <a:pt x="5122940" y="6503038"/>
                  <a:pt x="5135884" y="6503030"/>
                </a:cubicBezTo>
                <a:lnTo>
                  <a:pt x="5142057" y="6503030"/>
                </a:lnTo>
                <a:cubicBezTo>
                  <a:pt x="5142067" y="6503030"/>
                  <a:pt x="5142077" y="6503030"/>
                  <a:pt x="5142087" y="6503030"/>
                </a:cubicBezTo>
                <a:cubicBezTo>
                  <a:pt x="5142760" y="6503021"/>
                  <a:pt x="5143300" y="6502470"/>
                  <a:pt x="5143291" y="6501799"/>
                </a:cubicBezTo>
                <a:lnTo>
                  <a:pt x="5143291" y="6444899"/>
                </a:lnTo>
                <a:cubicBezTo>
                  <a:pt x="5143291" y="6425983"/>
                  <a:pt x="5147920" y="6418448"/>
                  <a:pt x="5165048" y="6418448"/>
                </a:cubicBezTo>
                <a:lnTo>
                  <a:pt x="5188657" y="6418448"/>
                </a:lnTo>
                <a:cubicBezTo>
                  <a:pt x="5188657" y="6407375"/>
                  <a:pt x="5181713" y="6397994"/>
                  <a:pt x="5164431" y="6397994"/>
                </a:cubicBezTo>
                <a:close/>
                <a:moveTo>
                  <a:pt x="4726668" y="6397379"/>
                </a:moveTo>
                <a:cubicBezTo>
                  <a:pt x="4694110" y="6397379"/>
                  <a:pt x="4668804" y="6421985"/>
                  <a:pt x="4668804" y="6451973"/>
                </a:cubicBezTo>
                <a:cubicBezTo>
                  <a:pt x="4668804" y="6481961"/>
                  <a:pt x="4694110" y="6506259"/>
                  <a:pt x="4726668" y="6506259"/>
                </a:cubicBezTo>
                <a:cubicBezTo>
                  <a:pt x="4759381" y="6506259"/>
                  <a:pt x="4784841" y="6481654"/>
                  <a:pt x="4784841" y="6451819"/>
                </a:cubicBezTo>
                <a:cubicBezTo>
                  <a:pt x="4784841" y="6421985"/>
                  <a:pt x="4759227" y="6397379"/>
                  <a:pt x="4726668" y="6397379"/>
                </a:cubicBezTo>
                <a:close/>
                <a:moveTo>
                  <a:pt x="4528817" y="6369082"/>
                </a:moveTo>
                <a:cubicBezTo>
                  <a:pt x="4528144" y="6369090"/>
                  <a:pt x="4527606" y="6369641"/>
                  <a:pt x="4527614" y="6370312"/>
                </a:cubicBezTo>
                <a:lnTo>
                  <a:pt x="4527614" y="6501645"/>
                </a:lnTo>
                <a:cubicBezTo>
                  <a:pt x="4527614" y="6501655"/>
                  <a:pt x="4527614" y="6501666"/>
                  <a:pt x="4527614" y="6501676"/>
                </a:cubicBezTo>
                <a:cubicBezTo>
                  <a:pt x="4527623" y="6502347"/>
                  <a:pt x="4528175" y="6502884"/>
                  <a:pt x="4528849" y="6502875"/>
                </a:cubicBezTo>
                <a:lnTo>
                  <a:pt x="4536409" y="6502875"/>
                </a:lnTo>
                <a:cubicBezTo>
                  <a:pt x="4536420" y="6502875"/>
                  <a:pt x="4536430" y="6502875"/>
                  <a:pt x="4536440" y="6502875"/>
                </a:cubicBezTo>
                <a:cubicBezTo>
                  <a:pt x="4549385" y="6502867"/>
                  <a:pt x="4559872" y="6492401"/>
                  <a:pt x="4559864" y="6479500"/>
                </a:cubicBezTo>
                <a:lnTo>
                  <a:pt x="4559864" y="6388612"/>
                </a:lnTo>
                <a:cubicBezTo>
                  <a:pt x="4596280" y="6388612"/>
                  <a:pt x="4615877" y="6411219"/>
                  <a:pt x="4615877" y="6443206"/>
                </a:cubicBezTo>
                <a:lnTo>
                  <a:pt x="4615877" y="6501799"/>
                </a:lnTo>
                <a:cubicBezTo>
                  <a:pt x="4615876" y="6501809"/>
                  <a:pt x="4615876" y="6501819"/>
                  <a:pt x="4615877" y="6501830"/>
                </a:cubicBezTo>
                <a:cubicBezTo>
                  <a:pt x="4615885" y="6502501"/>
                  <a:pt x="4616438" y="6503038"/>
                  <a:pt x="4617111" y="6503029"/>
                </a:cubicBezTo>
                <a:lnTo>
                  <a:pt x="4624672" y="6503029"/>
                </a:lnTo>
                <a:lnTo>
                  <a:pt x="4624981" y="6503029"/>
                </a:lnTo>
                <a:cubicBezTo>
                  <a:pt x="4625022" y="6503029"/>
                  <a:pt x="4625063" y="6503029"/>
                  <a:pt x="4625104" y="6503029"/>
                </a:cubicBezTo>
                <a:cubicBezTo>
                  <a:pt x="4637981" y="6502952"/>
                  <a:pt x="4648357" y="6492487"/>
                  <a:pt x="4648281" y="6479654"/>
                </a:cubicBezTo>
                <a:lnTo>
                  <a:pt x="4648281" y="6448127"/>
                </a:lnTo>
                <a:cubicBezTo>
                  <a:pt x="4648281" y="6401992"/>
                  <a:pt x="4615259" y="6368928"/>
                  <a:pt x="4569739" y="6369082"/>
                </a:cubicBezTo>
                <a:lnTo>
                  <a:pt x="4528849" y="6369082"/>
                </a:lnTo>
                <a:cubicBezTo>
                  <a:pt x="4528838" y="6369081"/>
                  <a:pt x="4528828" y="6369081"/>
                  <a:pt x="4528817" y="6369082"/>
                </a:cubicBezTo>
                <a:close/>
                <a:moveTo>
                  <a:pt x="4938961" y="6354318"/>
                </a:moveTo>
                <a:cubicBezTo>
                  <a:pt x="4926016" y="6354327"/>
                  <a:pt x="4915528" y="6364792"/>
                  <a:pt x="4915537" y="6377693"/>
                </a:cubicBezTo>
                <a:lnTo>
                  <a:pt x="4915537" y="6400761"/>
                </a:lnTo>
                <a:lnTo>
                  <a:pt x="4911525" y="6400761"/>
                </a:lnTo>
                <a:cubicBezTo>
                  <a:pt x="4900415" y="6400761"/>
                  <a:pt x="4891620" y="6407682"/>
                  <a:pt x="4891620" y="6418600"/>
                </a:cubicBezTo>
                <a:lnTo>
                  <a:pt x="4915537" y="6418600"/>
                </a:lnTo>
                <a:lnTo>
                  <a:pt x="4915537" y="6501799"/>
                </a:lnTo>
                <a:cubicBezTo>
                  <a:pt x="4915537" y="6501809"/>
                  <a:pt x="4915537" y="6501819"/>
                  <a:pt x="4915537" y="6501830"/>
                </a:cubicBezTo>
                <a:cubicBezTo>
                  <a:pt x="4915547" y="6502501"/>
                  <a:pt x="4916099" y="6503038"/>
                  <a:pt x="4916772" y="6503029"/>
                </a:cubicBezTo>
                <a:lnTo>
                  <a:pt x="4922944" y="6503029"/>
                </a:lnTo>
                <a:cubicBezTo>
                  <a:pt x="4922955" y="6503029"/>
                  <a:pt x="4922964" y="6503029"/>
                  <a:pt x="4922975" y="6503029"/>
                </a:cubicBezTo>
                <a:cubicBezTo>
                  <a:pt x="4935919" y="6503020"/>
                  <a:pt x="4946408" y="6492555"/>
                  <a:pt x="4946398" y="6479653"/>
                </a:cubicBezTo>
                <a:lnTo>
                  <a:pt x="4946398" y="6418600"/>
                </a:lnTo>
                <a:lnTo>
                  <a:pt x="4950410" y="6418600"/>
                </a:lnTo>
                <a:cubicBezTo>
                  <a:pt x="4961366" y="6418600"/>
                  <a:pt x="4970316" y="6411680"/>
                  <a:pt x="4970316" y="6400608"/>
                </a:cubicBezTo>
                <a:lnTo>
                  <a:pt x="4946553" y="6400608"/>
                </a:lnTo>
                <a:lnTo>
                  <a:pt x="4946553" y="6355548"/>
                </a:lnTo>
                <a:cubicBezTo>
                  <a:pt x="4946508" y="6354888"/>
                  <a:pt x="4945980" y="6354363"/>
                  <a:pt x="4945318" y="6354318"/>
                </a:cubicBezTo>
                <a:lnTo>
                  <a:pt x="4938992" y="6354318"/>
                </a:lnTo>
                <a:cubicBezTo>
                  <a:pt x="4938981" y="6354318"/>
                  <a:pt x="4938972" y="6354318"/>
                  <a:pt x="4938961" y="6354318"/>
                </a:cubicBezTo>
                <a:close/>
                <a:moveTo>
                  <a:pt x="1347013" y="0"/>
                </a:moveTo>
                <a:lnTo>
                  <a:pt x="5648390" y="0"/>
                </a:lnTo>
                <a:lnTo>
                  <a:pt x="5648390" y="6858000"/>
                </a:lnTo>
                <a:lnTo>
                  <a:pt x="2832054" y="6858000"/>
                </a:lnTo>
                <a:lnTo>
                  <a:pt x="2542780" y="6704098"/>
                </a:lnTo>
                <a:cubicBezTo>
                  <a:pt x="1775561" y="6258023"/>
                  <a:pt x="1089153" y="5591181"/>
                  <a:pt x="612373" y="4803027"/>
                </a:cubicBezTo>
                <a:cubicBezTo>
                  <a:pt x="-442067" y="3059934"/>
                  <a:pt x="-94872" y="1013150"/>
                  <a:pt x="1347013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349285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9" grpId="0" animBg="1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Title placeholder + image placehol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A7DE178-0D2C-9842-B09C-CD9C34B927FC}"/>
              </a:ext>
            </a:extLst>
          </p:cNvPr>
          <p:cNvSpPr/>
          <p:nvPr userDrawn="1"/>
        </p:nvSpPr>
        <p:spPr>
          <a:xfrm>
            <a:off x="11052810" y="6263640"/>
            <a:ext cx="1139190" cy="5943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28466DD1-39CE-6C4A-A1E6-D55DD37D5D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963" y="966487"/>
            <a:ext cx="5266037" cy="4750572"/>
          </a:xfrm>
        </p:spPr>
        <p:txBody>
          <a:bodyPr anchor="ctr"/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9" name="Plassholder for bilde 38">
            <a:extLst>
              <a:ext uri="{FF2B5EF4-FFF2-40B4-BE49-F238E27FC236}">
                <a16:creationId xmlns:a16="http://schemas.microsoft.com/office/drawing/2014/main" id="{2962C280-1D47-3347-A0EE-50F9D3679F4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55185" y="0"/>
            <a:ext cx="5648390" cy="6858000"/>
          </a:xfrm>
          <a:custGeom>
            <a:avLst/>
            <a:gdLst>
              <a:gd name="connsiteX0" fmla="*/ 4726668 w 5648390"/>
              <a:gd name="connsiteY0" fmla="*/ 6415833 h 6858000"/>
              <a:gd name="connsiteX1" fmla="*/ 4752283 w 5648390"/>
              <a:gd name="connsiteY1" fmla="*/ 6451973 h 6858000"/>
              <a:gd name="connsiteX2" fmla="*/ 4726668 w 5648390"/>
              <a:gd name="connsiteY2" fmla="*/ 6488113 h 6858000"/>
              <a:gd name="connsiteX3" fmla="*/ 4701208 w 5648390"/>
              <a:gd name="connsiteY3" fmla="*/ 6451973 h 6858000"/>
              <a:gd name="connsiteX4" fmla="*/ 4726668 w 5648390"/>
              <a:gd name="connsiteY4" fmla="*/ 6415833 h 6858000"/>
              <a:gd name="connsiteX5" fmla="*/ 5204087 w 5648390"/>
              <a:gd name="connsiteY5" fmla="*/ 6400608 h 6858000"/>
              <a:gd name="connsiteX6" fmla="*/ 5204087 w 5648390"/>
              <a:gd name="connsiteY6" fmla="*/ 6400916 h 6858000"/>
              <a:gd name="connsiteX7" fmla="*/ 5204089 w 5648390"/>
              <a:gd name="connsiteY7" fmla="*/ 6400980 h 6858000"/>
              <a:gd name="connsiteX8" fmla="*/ 5223838 w 5648390"/>
              <a:gd name="connsiteY8" fmla="*/ 6420139 h 6858000"/>
              <a:gd name="connsiteX9" fmla="*/ 5234640 w 5648390"/>
              <a:gd name="connsiteY9" fmla="*/ 6420139 h 6858000"/>
              <a:gd name="connsiteX10" fmla="*/ 5268278 w 5648390"/>
              <a:gd name="connsiteY10" fmla="*/ 6453664 h 6858000"/>
              <a:gd name="connsiteX11" fmla="*/ 5268278 w 5648390"/>
              <a:gd name="connsiteY11" fmla="*/ 6484114 h 6858000"/>
              <a:gd name="connsiteX12" fmla="*/ 5236029 w 5648390"/>
              <a:gd name="connsiteY12" fmla="*/ 6484114 h 6858000"/>
              <a:gd name="connsiteX13" fmla="*/ 5223376 w 5648390"/>
              <a:gd name="connsiteY13" fmla="*/ 6471503 h 6858000"/>
              <a:gd name="connsiteX14" fmla="*/ 5223376 w 5648390"/>
              <a:gd name="connsiteY14" fmla="*/ 6471042 h 6858000"/>
              <a:gd name="connsiteX15" fmla="*/ 5223376 w 5648390"/>
              <a:gd name="connsiteY15" fmla="*/ 6471034 h 6858000"/>
              <a:gd name="connsiteX16" fmla="*/ 5236029 w 5648390"/>
              <a:gd name="connsiteY16" fmla="*/ 6459047 h 6858000"/>
              <a:gd name="connsiteX17" fmla="*/ 5254545 w 5648390"/>
              <a:gd name="connsiteY17" fmla="*/ 6459047 h 6858000"/>
              <a:gd name="connsiteX18" fmla="*/ 5254545 w 5648390"/>
              <a:gd name="connsiteY18" fmla="*/ 6457816 h 6858000"/>
              <a:gd name="connsiteX19" fmla="*/ 5235566 w 5648390"/>
              <a:gd name="connsiteY19" fmla="*/ 6440131 h 6858000"/>
              <a:gd name="connsiteX20" fmla="*/ 5232942 w 5648390"/>
              <a:gd name="connsiteY20" fmla="*/ 6440131 h 6858000"/>
              <a:gd name="connsiteX21" fmla="*/ 5191743 w 5648390"/>
              <a:gd name="connsiteY21" fmla="*/ 6471503 h 6858000"/>
              <a:gd name="connsiteX22" fmla="*/ 5231091 w 5648390"/>
              <a:gd name="connsiteY22" fmla="*/ 6503029 h 6858000"/>
              <a:gd name="connsiteX23" fmla="*/ 5297442 w 5648390"/>
              <a:gd name="connsiteY23" fmla="*/ 6503029 h 6858000"/>
              <a:gd name="connsiteX24" fmla="*/ 5298831 w 5648390"/>
              <a:gd name="connsiteY24" fmla="*/ 6501645 h 6858000"/>
              <a:gd name="connsiteX25" fmla="*/ 5298831 w 5648390"/>
              <a:gd name="connsiteY25" fmla="*/ 6457663 h 6858000"/>
              <a:gd name="connsiteX26" fmla="*/ 5236646 w 5648390"/>
              <a:gd name="connsiteY26" fmla="*/ 6400608 h 6858000"/>
              <a:gd name="connsiteX27" fmla="*/ 5003768 w 5648390"/>
              <a:gd name="connsiteY27" fmla="*/ 6400608 h 6858000"/>
              <a:gd name="connsiteX28" fmla="*/ 4980345 w 5648390"/>
              <a:gd name="connsiteY28" fmla="*/ 6423983 h 6858000"/>
              <a:gd name="connsiteX29" fmla="*/ 4980345 w 5648390"/>
              <a:gd name="connsiteY29" fmla="*/ 6459662 h 6858000"/>
              <a:gd name="connsiteX30" fmla="*/ 5032500 w 5648390"/>
              <a:gd name="connsiteY30" fmla="*/ 6506413 h 6858000"/>
              <a:gd name="connsiteX31" fmla="*/ 5084501 w 5648390"/>
              <a:gd name="connsiteY31" fmla="*/ 6459508 h 6858000"/>
              <a:gd name="connsiteX32" fmla="*/ 5084501 w 5648390"/>
              <a:gd name="connsiteY32" fmla="*/ 6401684 h 6858000"/>
              <a:gd name="connsiteX33" fmla="*/ 5083112 w 5648390"/>
              <a:gd name="connsiteY33" fmla="*/ 6400608 h 6858000"/>
              <a:gd name="connsiteX34" fmla="*/ 5077557 w 5648390"/>
              <a:gd name="connsiteY34" fmla="*/ 6400608 h 6858000"/>
              <a:gd name="connsiteX35" fmla="*/ 5077526 w 5648390"/>
              <a:gd name="connsiteY35" fmla="*/ 6400608 h 6858000"/>
              <a:gd name="connsiteX36" fmla="*/ 5054103 w 5648390"/>
              <a:gd name="connsiteY36" fmla="*/ 6423983 h 6858000"/>
              <a:gd name="connsiteX37" fmla="*/ 5054103 w 5648390"/>
              <a:gd name="connsiteY37" fmla="*/ 6461968 h 6858000"/>
              <a:gd name="connsiteX38" fmla="*/ 5032346 w 5648390"/>
              <a:gd name="connsiteY38" fmla="*/ 6486574 h 6858000"/>
              <a:gd name="connsiteX39" fmla="*/ 5010589 w 5648390"/>
              <a:gd name="connsiteY39" fmla="*/ 6461968 h 6858000"/>
              <a:gd name="connsiteX40" fmla="*/ 5010589 w 5648390"/>
              <a:gd name="connsiteY40" fmla="*/ 6401838 h 6858000"/>
              <a:gd name="connsiteX41" fmla="*/ 5009354 w 5648390"/>
              <a:gd name="connsiteY41" fmla="*/ 6400608 h 6858000"/>
              <a:gd name="connsiteX42" fmla="*/ 5003799 w 5648390"/>
              <a:gd name="connsiteY42" fmla="*/ 6400608 h 6858000"/>
              <a:gd name="connsiteX43" fmla="*/ 5003768 w 5648390"/>
              <a:gd name="connsiteY43" fmla="*/ 6400608 h 6858000"/>
              <a:gd name="connsiteX44" fmla="*/ 4858136 w 5648390"/>
              <a:gd name="connsiteY44" fmla="*/ 6398147 h 6858000"/>
              <a:gd name="connsiteX45" fmla="*/ 4832521 w 5648390"/>
              <a:gd name="connsiteY45" fmla="*/ 6410450 h 6858000"/>
              <a:gd name="connsiteX46" fmla="*/ 4813542 w 5648390"/>
              <a:gd name="connsiteY46" fmla="*/ 6400761 h 6858000"/>
              <a:gd name="connsiteX47" fmla="*/ 4807215 w 5648390"/>
              <a:gd name="connsiteY47" fmla="*/ 6400761 h 6858000"/>
              <a:gd name="connsiteX48" fmla="*/ 4805981 w 5648390"/>
              <a:gd name="connsiteY48" fmla="*/ 6401992 h 6858000"/>
              <a:gd name="connsiteX49" fmla="*/ 4805981 w 5648390"/>
              <a:gd name="connsiteY49" fmla="*/ 6479654 h 6858000"/>
              <a:gd name="connsiteX50" fmla="*/ 4805981 w 5648390"/>
              <a:gd name="connsiteY50" fmla="*/ 6479684 h 6858000"/>
              <a:gd name="connsiteX51" fmla="*/ 4829435 w 5648390"/>
              <a:gd name="connsiteY51" fmla="*/ 6503029 h 6858000"/>
              <a:gd name="connsiteX52" fmla="*/ 4835762 w 5648390"/>
              <a:gd name="connsiteY52" fmla="*/ 6503029 h 6858000"/>
              <a:gd name="connsiteX53" fmla="*/ 4835793 w 5648390"/>
              <a:gd name="connsiteY53" fmla="*/ 6503029 h 6858000"/>
              <a:gd name="connsiteX54" fmla="*/ 4836996 w 5648390"/>
              <a:gd name="connsiteY54" fmla="*/ 6501799 h 6858000"/>
              <a:gd name="connsiteX55" fmla="*/ 4836996 w 5648390"/>
              <a:gd name="connsiteY55" fmla="*/ 6444898 h 6858000"/>
              <a:gd name="connsiteX56" fmla="*/ 4858753 w 5648390"/>
              <a:gd name="connsiteY56" fmla="*/ 6418447 h 6858000"/>
              <a:gd name="connsiteX57" fmla="*/ 4881436 w 5648390"/>
              <a:gd name="connsiteY57" fmla="*/ 6418601 h 6858000"/>
              <a:gd name="connsiteX58" fmla="*/ 4858136 w 5648390"/>
              <a:gd name="connsiteY58" fmla="*/ 6398147 h 6858000"/>
              <a:gd name="connsiteX59" fmla="*/ 5164431 w 5648390"/>
              <a:gd name="connsiteY59" fmla="*/ 6397994 h 6858000"/>
              <a:gd name="connsiteX60" fmla="*/ 5138816 w 5648390"/>
              <a:gd name="connsiteY60" fmla="*/ 6410297 h 6858000"/>
              <a:gd name="connsiteX61" fmla="*/ 5119991 w 5648390"/>
              <a:gd name="connsiteY61" fmla="*/ 6400762 h 6858000"/>
              <a:gd name="connsiteX62" fmla="*/ 5113664 w 5648390"/>
              <a:gd name="connsiteY62" fmla="*/ 6400762 h 6858000"/>
              <a:gd name="connsiteX63" fmla="*/ 5112430 w 5648390"/>
              <a:gd name="connsiteY63" fmla="*/ 6401992 h 6858000"/>
              <a:gd name="connsiteX64" fmla="*/ 5112430 w 5648390"/>
              <a:gd name="connsiteY64" fmla="*/ 6479654 h 6858000"/>
              <a:gd name="connsiteX65" fmla="*/ 5112430 w 5648390"/>
              <a:gd name="connsiteY65" fmla="*/ 6479685 h 6858000"/>
              <a:gd name="connsiteX66" fmla="*/ 5135884 w 5648390"/>
              <a:gd name="connsiteY66" fmla="*/ 6503030 h 6858000"/>
              <a:gd name="connsiteX67" fmla="*/ 5142057 w 5648390"/>
              <a:gd name="connsiteY67" fmla="*/ 6503030 h 6858000"/>
              <a:gd name="connsiteX68" fmla="*/ 5142087 w 5648390"/>
              <a:gd name="connsiteY68" fmla="*/ 6503030 h 6858000"/>
              <a:gd name="connsiteX69" fmla="*/ 5143291 w 5648390"/>
              <a:gd name="connsiteY69" fmla="*/ 6501799 h 6858000"/>
              <a:gd name="connsiteX70" fmla="*/ 5143291 w 5648390"/>
              <a:gd name="connsiteY70" fmla="*/ 6444899 h 6858000"/>
              <a:gd name="connsiteX71" fmla="*/ 5165048 w 5648390"/>
              <a:gd name="connsiteY71" fmla="*/ 6418448 h 6858000"/>
              <a:gd name="connsiteX72" fmla="*/ 5188657 w 5648390"/>
              <a:gd name="connsiteY72" fmla="*/ 6418448 h 6858000"/>
              <a:gd name="connsiteX73" fmla="*/ 5164431 w 5648390"/>
              <a:gd name="connsiteY73" fmla="*/ 6397994 h 6858000"/>
              <a:gd name="connsiteX74" fmla="*/ 4726668 w 5648390"/>
              <a:gd name="connsiteY74" fmla="*/ 6397379 h 6858000"/>
              <a:gd name="connsiteX75" fmla="*/ 4668804 w 5648390"/>
              <a:gd name="connsiteY75" fmla="*/ 6451973 h 6858000"/>
              <a:gd name="connsiteX76" fmla="*/ 4726668 w 5648390"/>
              <a:gd name="connsiteY76" fmla="*/ 6506259 h 6858000"/>
              <a:gd name="connsiteX77" fmla="*/ 4784841 w 5648390"/>
              <a:gd name="connsiteY77" fmla="*/ 6451819 h 6858000"/>
              <a:gd name="connsiteX78" fmla="*/ 4726668 w 5648390"/>
              <a:gd name="connsiteY78" fmla="*/ 6397379 h 6858000"/>
              <a:gd name="connsiteX79" fmla="*/ 4528817 w 5648390"/>
              <a:gd name="connsiteY79" fmla="*/ 6369082 h 6858000"/>
              <a:gd name="connsiteX80" fmla="*/ 4527614 w 5648390"/>
              <a:gd name="connsiteY80" fmla="*/ 6370312 h 6858000"/>
              <a:gd name="connsiteX81" fmla="*/ 4527614 w 5648390"/>
              <a:gd name="connsiteY81" fmla="*/ 6501645 h 6858000"/>
              <a:gd name="connsiteX82" fmla="*/ 4527614 w 5648390"/>
              <a:gd name="connsiteY82" fmla="*/ 6501676 h 6858000"/>
              <a:gd name="connsiteX83" fmla="*/ 4528849 w 5648390"/>
              <a:gd name="connsiteY83" fmla="*/ 6502875 h 6858000"/>
              <a:gd name="connsiteX84" fmla="*/ 4536409 w 5648390"/>
              <a:gd name="connsiteY84" fmla="*/ 6502875 h 6858000"/>
              <a:gd name="connsiteX85" fmla="*/ 4536440 w 5648390"/>
              <a:gd name="connsiteY85" fmla="*/ 6502875 h 6858000"/>
              <a:gd name="connsiteX86" fmla="*/ 4559864 w 5648390"/>
              <a:gd name="connsiteY86" fmla="*/ 6479500 h 6858000"/>
              <a:gd name="connsiteX87" fmla="*/ 4559864 w 5648390"/>
              <a:gd name="connsiteY87" fmla="*/ 6388612 h 6858000"/>
              <a:gd name="connsiteX88" fmla="*/ 4615877 w 5648390"/>
              <a:gd name="connsiteY88" fmla="*/ 6443206 h 6858000"/>
              <a:gd name="connsiteX89" fmla="*/ 4615877 w 5648390"/>
              <a:gd name="connsiteY89" fmla="*/ 6501799 h 6858000"/>
              <a:gd name="connsiteX90" fmla="*/ 4615877 w 5648390"/>
              <a:gd name="connsiteY90" fmla="*/ 6501830 h 6858000"/>
              <a:gd name="connsiteX91" fmla="*/ 4617111 w 5648390"/>
              <a:gd name="connsiteY91" fmla="*/ 6503029 h 6858000"/>
              <a:gd name="connsiteX92" fmla="*/ 4624672 w 5648390"/>
              <a:gd name="connsiteY92" fmla="*/ 6503029 h 6858000"/>
              <a:gd name="connsiteX93" fmla="*/ 4624981 w 5648390"/>
              <a:gd name="connsiteY93" fmla="*/ 6503029 h 6858000"/>
              <a:gd name="connsiteX94" fmla="*/ 4625104 w 5648390"/>
              <a:gd name="connsiteY94" fmla="*/ 6503029 h 6858000"/>
              <a:gd name="connsiteX95" fmla="*/ 4648281 w 5648390"/>
              <a:gd name="connsiteY95" fmla="*/ 6479654 h 6858000"/>
              <a:gd name="connsiteX96" fmla="*/ 4648281 w 5648390"/>
              <a:gd name="connsiteY96" fmla="*/ 6448127 h 6858000"/>
              <a:gd name="connsiteX97" fmla="*/ 4569739 w 5648390"/>
              <a:gd name="connsiteY97" fmla="*/ 6369082 h 6858000"/>
              <a:gd name="connsiteX98" fmla="*/ 4528849 w 5648390"/>
              <a:gd name="connsiteY98" fmla="*/ 6369082 h 6858000"/>
              <a:gd name="connsiteX99" fmla="*/ 4528817 w 5648390"/>
              <a:gd name="connsiteY99" fmla="*/ 6369082 h 6858000"/>
              <a:gd name="connsiteX100" fmla="*/ 4938961 w 5648390"/>
              <a:gd name="connsiteY100" fmla="*/ 6354318 h 6858000"/>
              <a:gd name="connsiteX101" fmla="*/ 4915537 w 5648390"/>
              <a:gd name="connsiteY101" fmla="*/ 6377693 h 6858000"/>
              <a:gd name="connsiteX102" fmla="*/ 4915537 w 5648390"/>
              <a:gd name="connsiteY102" fmla="*/ 6400761 h 6858000"/>
              <a:gd name="connsiteX103" fmla="*/ 4911525 w 5648390"/>
              <a:gd name="connsiteY103" fmla="*/ 6400761 h 6858000"/>
              <a:gd name="connsiteX104" fmla="*/ 4891620 w 5648390"/>
              <a:gd name="connsiteY104" fmla="*/ 6418600 h 6858000"/>
              <a:gd name="connsiteX105" fmla="*/ 4915537 w 5648390"/>
              <a:gd name="connsiteY105" fmla="*/ 6418600 h 6858000"/>
              <a:gd name="connsiteX106" fmla="*/ 4915537 w 5648390"/>
              <a:gd name="connsiteY106" fmla="*/ 6501799 h 6858000"/>
              <a:gd name="connsiteX107" fmla="*/ 4915537 w 5648390"/>
              <a:gd name="connsiteY107" fmla="*/ 6501830 h 6858000"/>
              <a:gd name="connsiteX108" fmla="*/ 4916772 w 5648390"/>
              <a:gd name="connsiteY108" fmla="*/ 6503029 h 6858000"/>
              <a:gd name="connsiteX109" fmla="*/ 4922944 w 5648390"/>
              <a:gd name="connsiteY109" fmla="*/ 6503029 h 6858000"/>
              <a:gd name="connsiteX110" fmla="*/ 4922975 w 5648390"/>
              <a:gd name="connsiteY110" fmla="*/ 6503029 h 6858000"/>
              <a:gd name="connsiteX111" fmla="*/ 4946398 w 5648390"/>
              <a:gd name="connsiteY111" fmla="*/ 6479653 h 6858000"/>
              <a:gd name="connsiteX112" fmla="*/ 4946398 w 5648390"/>
              <a:gd name="connsiteY112" fmla="*/ 6418600 h 6858000"/>
              <a:gd name="connsiteX113" fmla="*/ 4950410 w 5648390"/>
              <a:gd name="connsiteY113" fmla="*/ 6418600 h 6858000"/>
              <a:gd name="connsiteX114" fmla="*/ 4970316 w 5648390"/>
              <a:gd name="connsiteY114" fmla="*/ 6400608 h 6858000"/>
              <a:gd name="connsiteX115" fmla="*/ 4946553 w 5648390"/>
              <a:gd name="connsiteY115" fmla="*/ 6400608 h 6858000"/>
              <a:gd name="connsiteX116" fmla="*/ 4946553 w 5648390"/>
              <a:gd name="connsiteY116" fmla="*/ 6355548 h 6858000"/>
              <a:gd name="connsiteX117" fmla="*/ 4945318 w 5648390"/>
              <a:gd name="connsiteY117" fmla="*/ 6354318 h 6858000"/>
              <a:gd name="connsiteX118" fmla="*/ 4938992 w 5648390"/>
              <a:gd name="connsiteY118" fmla="*/ 6354318 h 6858000"/>
              <a:gd name="connsiteX119" fmla="*/ 4938961 w 5648390"/>
              <a:gd name="connsiteY119" fmla="*/ 6354318 h 6858000"/>
              <a:gd name="connsiteX120" fmla="*/ 1347013 w 5648390"/>
              <a:gd name="connsiteY120" fmla="*/ 0 h 6858000"/>
              <a:gd name="connsiteX121" fmla="*/ 5648390 w 5648390"/>
              <a:gd name="connsiteY121" fmla="*/ 0 h 6858000"/>
              <a:gd name="connsiteX122" fmla="*/ 5648390 w 5648390"/>
              <a:gd name="connsiteY122" fmla="*/ 6858000 h 6858000"/>
              <a:gd name="connsiteX123" fmla="*/ 2832054 w 5648390"/>
              <a:gd name="connsiteY123" fmla="*/ 6858000 h 6858000"/>
              <a:gd name="connsiteX124" fmla="*/ 2542780 w 5648390"/>
              <a:gd name="connsiteY124" fmla="*/ 6704098 h 6858000"/>
              <a:gd name="connsiteX125" fmla="*/ 612373 w 5648390"/>
              <a:gd name="connsiteY125" fmla="*/ 4803027 h 6858000"/>
              <a:gd name="connsiteX126" fmla="*/ 1347013 w 5648390"/>
              <a:gd name="connsiteY12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5648390" h="6858000">
                <a:moveTo>
                  <a:pt x="4726668" y="6415833"/>
                </a:moveTo>
                <a:cubicBezTo>
                  <a:pt x="4740864" y="6415833"/>
                  <a:pt x="4752283" y="6431981"/>
                  <a:pt x="4752283" y="6451973"/>
                </a:cubicBezTo>
                <a:cubicBezTo>
                  <a:pt x="4752283" y="6471965"/>
                  <a:pt x="4740710" y="6488113"/>
                  <a:pt x="4726668" y="6488113"/>
                </a:cubicBezTo>
                <a:cubicBezTo>
                  <a:pt x="4712627" y="6488113"/>
                  <a:pt x="4701208" y="6471965"/>
                  <a:pt x="4701208" y="6451973"/>
                </a:cubicBezTo>
                <a:cubicBezTo>
                  <a:pt x="4701208" y="6431981"/>
                  <a:pt x="4712627" y="6415833"/>
                  <a:pt x="4726668" y="6415833"/>
                </a:cubicBezTo>
                <a:close/>
                <a:moveTo>
                  <a:pt x="5204087" y="6400608"/>
                </a:moveTo>
                <a:lnTo>
                  <a:pt x="5204087" y="6400916"/>
                </a:lnTo>
                <a:cubicBezTo>
                  <a:pt x="5204087" y="6400937"/>
                  <a:pt x="5204087" y="6400958"/>
                  <a:pt x="5204089" y="6400980"/>
                </a:cubicBezTo>
                <a:cubicBezTo>
                  <a:pt x="5204234" y="6411706"/>
                  <a:pt x="5213076" y="6420284"/>
                  <a:pt x="5223838" y="6420139"/>
                </a:cubicBezTo>
                <a:lnTo>
                  <a:pt x="5234640" y="6420139"/>
                </a:lnTo>
                <a:cubicBezTo>
                  <a:pt x="5256860" y="6420139"/>
                  <a:pt x="5268278" y="6432903"/>
                  <a:pt x="5268278" y="6453664"/>
                </a:cubicBezTo>
                <a:lnTo>
                  <a:pt x="5268278" y="6484114"/>
                </a:lnTo>
                <a:lnTo>
                  <a:pt x="5236029" y="6484114"/>
                </a:lnTo>
                <a:cubicBezTo>
                  <a:pt x="5229054" y="6484080"/>
                  <a:pt x="5223409" y="6478454"/>
                  <a:pt x="5223376" y="6471503"/>
                </a:cubicBezTo>
                <a:lnTo>
                  <a:pt x="5223376" y="6471042"/>
                </a:lnTo>
                <a:cubicBezTo>
                  <a:pt x="5223376" y="6471039"/>
                  <a:pt x="5223376" y="6471037"/>
                  <a:pt x="5223376" y="6471034"/>
                </a:cubicBezTo>
                <a:cubicBezTo>
                  <a:pt x="5223548" y="6464242"/>
                  <a:pt x="5229213" y="6458875"/>
                  <a:pt x="5236029" y="6459047"/>
                </a:cubicBezTo>
                <a:lnTo>
                  <a:pt x="5254545" y="6459047"/>
                </a:lnTo>
                <a:lnTo>
                  <a:pt x="5254545" y="6457816"/>
                </a:lnTo>
                <a:cubicBezTo>
                  <a:pt x="5254127" y="6447744"/>
                  <a:pt x="5245677" y="6439870"/>
                  <a:pt x="5235566" y="6440131"/>
                </a:cubicBezTo>
                <a:lnTo>
                  <a:pt x="5232942" y="6440131"/>
                </a:lnTo>
                <a:cubicBezTo>
                  <a:pt x="5209179" y="6440131"/>
                  <a:pt x="5191743" y="6454125"/>
                  <a:pt x="5191743" y="6471503"/>
                </a:cubicBezTo>
                <a:cubicBezTo>
                  <a:pt x="5191743" y="6488881"/>
                  <a:pt x="5208871" y="6503029"/>
                  <a:pt x="5231091" y="6503029"/>
                </a:cubicBezTo>
                <a:lnTo>
                  <a:pt x="5297442" y="6503029"/>
                </a:lnTo>
                <a:cubicBezTo>
                  <a:pt x="5298213" y="6503029"/>
                  <a:pt x="5298676" y="6502414"/>
                  <a:pt x="5298831" y="6501645"/>
                </a:cubicBezTo>
                <a:lnTo>
                  <a:pt x="5298831" y="6457663"/>
                </a:lnTo>
                <a:cubicBezTo>
                  <a:pt x="5298831" y="6422446"/>
                  <a:pt x="5280160" y="6400608"/>
                  <a:pt x="5236646" y="6400608"/>
                </a:cubicBezTo>
                <a:close/>
                <a:moveTo>
                  <a:pt x="5003768" y="6400608"/>
                </a:moveTo>
                <a:cubicBezTo>
                  <a:pt x="4990824" y="6400616"/>
                  <a:pt x="4980336" y="6411082"/>
                  <a:pt x="4980345" y="6423983"/>
                </a:cubicBezTo>
                <a:lnTo>
                  <a:pt x="4980345" y="6459662"/>
                </a:lnTo>
                <a:cubicBezTo>
                  <a:pt x="4980345" y="6485959"/>
                  <a:pt x="5003645" y="6506413"/>
                  <a:pt x="5032500" y="6506413"/>
                </a:cubicBezTo>
                <a:cubicBezTo>
                  <a:pt x="5061355" y="6506413"/>
                  <a:pt x="5084655" y="6486113"/>
                  <a:pt x="5084501" y="6459508"/>
                </a:cubicBezTo>
                <a:lnTo>
                  <a:pt x="5084501" y="6401684"/>
                </a:lnTo>
                <a:cubicBezTo>
                  <a:pt x="5084347" y="6401069"/>
                  <a:pt x="5083729" y="6400454"/>
                  <a:pt x="5083112" y="6400608"/>
                </a:cubicBezTo>
                <a:lnTo>
                  <a:pt x="5077557" y="6400608"/>
                </a:lnTo>
                <a:cubicBezTo>
                  <a:pt x="5077546" y="6400608"/>
                  <a:pt x="5077537" y="6400608"/>
                  <a:pt x="5077526" y="6400608"/>
                </a:cubicBezTo>
                <a:cubicBezTo>
                  <a:pt x="5064582" y="6400616"/>
                  <a:pt x="5054094" y="6411082"/>
                  <a:pt x="5054103" y="6423983"/>
                </a:cubicBezTo>
                <a:lnTo>
                  <a:pt x="5054103" y="6461968"/>
                </a:lnTo>
                <a:cubicBezTo>
                  <a:pt x="5054103" y="6475809"/>
                  <a:pt x="5044382" y="6486574"/>
                  <a:pt x="5032346" y="6486574"/>
                </a:cubicBezTo>
                <a:cubicBezTo>
                  <a:pt x="5020310" y="6486574"/>
                  <a:pt x="5010589" y="6475963"/>
                  <a:pt x="5010589" y="6461968"/>
                </a:cubicBezTo>
                <a:lnTo>
                  <a:pt x="5010589" y="6401838"/>
                </a:lnTo>
                <a:cubicBezTo>
                  <a:pt x="5010544" y="6401178"/>
                  <a:pt x="5010016" y="6400652"/>
                  <a:pt x="5009354" y="6400608"/>
                </a:cubicBezTo>
                <a:lnTo>
                  <a:pt x="5003799" y="6400608"/>
                </a:lnTo>
                <a:cubicBezTo>
                  <a:pt x="5003789" y="6400608"/>
                  <a:pt x="5003779" y="6400608"/>
                  <a:pt x="5003768" y="6400608"/>
                </a:cubicBezTo>
                <a:close/>
                <a:moveTo>
                  <a:pt x="4858136" y="6398147"/>
                </a:moveTo>
                <a:cubicBezTo>
                  <a:pt x="4843940" y="6398147"/>
                  <a:pt x="4839002" y="6402145"/>
                  <a:pt x="4832521" y="6410450"/>
                </a:cubicBezTo>
                <a:cubicBezTo>
                  <a:pt x="4828141" y="6404349"/>
                  <a:pt x="4821069" y="6400739"/>
                  <a:pt x="4813542" y="6400761"/>
                </a:cubicBezTo>
                <a:lnTo>
                  <a:pt x="4807215" y="6400761"/>
                </a:lnTo>
                <a:cubicBezTo>
                  <a:pt x="4806553" y="6400806"/>
                  <a:pt x="4806026" y="6401332"/>
                  <a:pt x="4805981" y="6401992"/>
                </a:cubicBezTo>
                <a:lnTo>
                  <a:pt x="4805981" y="6479654"/>
                </a:lnTo>
                <a:cubicBezTo>
                  <a:pt x="4805981" y="6479664"/>
                  <a:pt x="4805981" y="6479674"/>
                  <a:pt x="4805981" y="6479684"/>
                </a:cubicBezTo>
                <a:cubicBezTo>
                  <a:pt x="4805990" y="6492586"/>
                  <a:pt x="4816491" y="6503037"/>
                  <a:pt x="4829435" y="6503029"/>
                </a:cubicBezTo>
                <a:lnTo>
                  <a:pt x="4835762" y="6503029"/>
                </a:lnTo>
                <a:cubicBezTo>
                  <a:pt x="4835773" y="6503029"/>
                  <a:pt x="4835782" y="6503029"/>
                  <a:pt x="4835793" y="6503029"/>
                </a:cubicBezTo>
                <a:cubicBezTo>
                  <a:pt x="4836466" y="6503020"/>
                  <a:pt x="4837006" y="6502470"/>
                  <a:pt x="4836996" y="6501799"/>
                </a:cubicBezTo>
                <a:lnTo>
                  <a:pt x="4836996" y="6444898"/>
                </a:lnTo>
                <a:cubicBezTo>
                  <a:pt x="4836996" y="6425982"/>
                  <a:pt x="4841471" y="6418447"/>
                  <a:pt x="4858753" y="6418447"/>
                </a:cubicBezTo>
                <a:lnTo>
                  <a:pt x="4881436" y="6418601"/>
                </a:lnTo>
                <a:cubicBezTo>
                  <a:pt x="4881436" y="6407528"/>
                  <a:pt x="4875418" y="6398147"/>
                  <a:pt x="4858136" y="6398147"/>
                </a:cubicBezTo>
                <a:close/>
                <a:moveTo>
                  <a:pt x="5164431" y="6397994"/>
                </a:moveTo>
                <a:cubicBezTo>
                  <a:pt x="5150235" y="6397994"/>
                  <a:pt x="5145297" y="6401992"/>
                  <a:pt x="5138816" y="6410297"/>
                </a:cubicBezTo>
                <a:cubicBezTo>
                  <a:pt x="5134391" y="6404351"/>
                  <a:pt x="5127419" y="6400820"/>
                  <a:pt x="5119991" y="6400762"/>
                </a:cubicBezTo>
                <a:lnTo>
                  <a:pt x="5113664" y="6400762"/>
                </a:lnTo>
                <a:cubicBezTo>
                  <a:pt x="5113002" y="6400807"/>
                  <a:pt x="5112475" y="6401332"/>
                  <a:pt x="5112430" y="6401992"/>
                </a:cubicBezTo>
                <a:lnTo>
                  <a:pt x="5112430" y="6479654"/>
                </a:lnTo>
                <a:cubicBezTo>
                  <a:pt x="5112430" y="6479665"/>
                  <a:pt x="5112430" y="6479675"/>
                  <a:pt x="5112430" y="6479685"/>
                </a:cubicBezTo>
                <a:cubicBezTo>
                  <a:pt x="5112439" y="6492586"/>
                  <a:pt x="5122940" y="6503038"/>
                  <a:pt x="5135884" y="6503030"/>
                </a:cubicBezTo>
                <a:lnTo>
                  <a:pt x="5142057" y="6503030"/>
                </a:lnTo>
                <a:cubicBezTo>
                  <a:pt x="5142067" y="6503030"/>
                  <a:pt x="5142077" y="6503030"/>
                  <a:pt x="5142087" y="6503030"/>
                </a:cubicBezTo>
                <a:cubicBezTo>
                  <a:pt x="5142760" y="6503021"/>
                  <a:pt x="5143300" y="6502470"/>
                  <a:pt x="5143291" y="6501799"/>
                </a:cubicBezTo>
                <a:lnTo>
                  <a:pt x="5143291" y="6444899"/>
                </a:lnTo>
                <a:cubicBezTo>
                  <a:pt x="5143291" y="6425983"/>
                  <a:pt x="5147920" y="6418448"/>
                  <a:pt x="5165048" y="6418448"/>
                </a:cubicBezTo>
                <a:lnTo>
                  <a:pt x="5188657" y="6418448"/>
                </a:lnTo>
                <a:cubicBezTo>
                  <a:pt x="5188657" y="6407375"/>
                  <a:pt x="5181713" y="6397994"/>
                  <a:pt x="5164431" y="6397994"/>
                </a:cubicBezTo>
                <a:close/>
                <a:moveTo>
                  <a:pt x="4726668" y="6397379"/>
                </a:moveTo>
                <a:cubicBezTo>
                  <a:pt x="4694110" y="6397379"/>
                  <a:pt x="4668804" y="6421985"/>
                  <a:pt x="4668804" y="6451973"/>
                </a:cubicBezTo>
                <a:cubicBezTo>
                  <a:pt x="4668804" y="6481961"/>
                  <a:pt x="4694110" y="6506259"/>
                  <a:pt x="4726668" y="6506259"/>
                </a:cubicBezTo>
                <a:cubicBezTo>
                  <a:pt x="4759381" y="6506259"/>
                  <a:pt x="4784841" y="6481654"/>
                  <a:pt x="4784841" y="6451819"/>
                </a:cubicBezTo>
                <a:cubicBezTo>
                  <a:pt x="4784841" y="6421985"/>
                  <a:pt x="4759227" y="6397379"/>
                  <a:pt x="4726668" y="6397379"/>
                </a:cubicBezTo>
                <a:close/>
                <a:moveTo>
                  <a:pt x="4528817" y="6369082"/>
                </a:moveTo>
                <a:cubicBezTo>
                  <a:pt x="4528144" y="6369090"/>
                  <a:pt x="4527606" y="6369641"/>
                  <a:pt x="4527614" y="6370312"/>
                </a:cubicBezTo>
                <a:lnTo>
                  <a:pt x="4527614" y="6501645"/>
                </a:lnTo>
                <a:cubicBezTo>
                  <a:pt x="4527614" y="6501655"/>
                  <a:pt x="4527614" y="6501666"/>
                  <a:pt x="4527614" y="6501676"/>
                </a:cubicBezTo>
                <a:cubicBezTo>
                  <a:pt x="4527623" y="6502347"/>
                  <a:pt x="4528175" y="6502884"/>
                  <a:pt x="4528849" y="6502875"/>
                </a:cubicBezTo>
                <a:lnTo>
                  <a:pt x="4536409" y="6502875"/>
                </a:lnTo>
                <a:cubicBezTo>
                  <a:pt x="4536420" y="6502875"/>
                  <a:pt x="4536430" y="6502875"/>
                  <a:pt x="4536440" y="6502875"/>
                </a:cubicBezTo>
                <a:cubicBezTo>
                  <a:pt x="4549385" y="6502867"/>
                  <a:pt x="4559872" y="6492401"/>
                  <a:pt x="4559864" y="6479500"/>
                </a:cubicBezTo>
                <a:lnTo>
                  <a:pt x="4559864" y="6388612"/>
                </a:lnTo>
                <a:cubicBezTo>
                  <a:pt x="4596280" y="6388612"/>
                  <a:pt x="4615877" y="6411219"/>
                  <a:pt x="4615877" y="6443206"/>
                </a:cubicBezTo>
                <a:lnTo>
                  <a:pt x="4615877" y="6501799"/>
                </a:lnTo>
                <a:cubicBezTo>
                  <a:pt x="4615876" y="6501809"/>
                  <a:pt x="4615876" y="6501819"/>
                  <a:pt x="4615877" y="6501830"/>
                </a:cubicBezTo>
                <a:cubicBezTo>
                  <a:pt x="4615885" y="6502501"/>
                  <a:pt x="4616438" y="6503038"/>
                  <a:pt x="4617111" y="6503029"/>
                </a:cubicBezTo>
                <a:lnTo>
                  <a:pt x="4624672" y="6503029"/>
                </a:lnTo>
                <a:lnTo>
                  <a:pt x="4624981" y="6503029"/>
                </a:lnTo>
                <a:cubicBezTo>
                  <a:pt x="4625022" y="6503029"/>
                  <a:pt x="4625063" y="6503029"/>
                  <a:pt x="4625104" y="6503029"/>
                </a:cubicBezTo>
                <a:cubicBezTo>
                  <a:pt x="4637981" y="6502952"/>
                  <a:pt x="4648357" y="6492487"/>
                  <a:pt x="4648281" y="6479654"/>
                </a:cubicBezTo>
                <a:lnTo>
                  <a:pt x="4648281" y="6448127"/>
                </a:lnTo>
                <a:cubicBezTo>
                  <a:pt x="4648281" y="6401992"/>
                  <a:pt x="4615259" y="6368928"/>
                  <a:pt x="4569739" y="6369082"/>
                </a:cubicBezTo>
                <a:lnTo>
                  <a:pt x="4528849" y="6369082"/>
                </a:lnTo>
                <a:cubicBezTo>
                  <a:pt x="4528838" y="6369081"/>
                  <a:pt x="4528828" y="6369081"/>
                  <a:pt x="4528817" y="6369082"/>
                </a:cubicBezTo>
                <a:close/>
                <a:moveTo>
                  <a:pt x="4938961" y="6354318"/>
                </a:moveTo>
                <a:cubicBezTo>
                  <a:pt x="4926016" y="6354327"/>
                  <a:pt x="4915528" y="6364792"/>
                  <a:pt x="4915537" y="6377693"/>
                </a:cubicBezTo>
                <a:lnTo>
                  <a:pt x="4915537" y="6400761"/>
                </a:lnTo>
                <a:lnTo>
                  <a:pt x="4911525" y="6400761"/>
                </a:lnTo>
                <a:cubicBezTo>
                  <a:pt x="4900415" y="6400761"/>
                  <a:pt x="4891620" y="6407682"/>
                  <a:pt x="4891620" y="6418600"/>
                </a:cubicBezTo>
                <a:lnTo>
                  <a:pt x="4915537" y="6418600"/>
                </a:lnTo>
                <a:lnTo>
                  <a:pt x="4915537" y="6501799"/>
                </a:lnTo>
                <a:cubicBezTo>
                  <a:pt x="4915537" y="6501809"/>
                  <a:pt x="4915537" y="6501819"/>
                  <a:pt x="4915537" y="6501830"/>
                </a:cubicBezTo>
                <a:cubicBezTo>
                  <a:pt x="4915547" y="6502501"/>
                  <a:pt x="4916099" y="6503038"/>
                  <a:pt x="4916772" y="6503029"/>
                </a:cubicBezTo>
                <a:lnTo>
                  <a:pt x="4922944" y="6503029"/>
                </a:lnTo>
                <a:cubicBezTo>
                  <a:pt x="4922955" y="6503029"/>
                  <a:pt x="4922964" y="6503029"/>
                  <a:pt x="4922975" y="6503029"/>
                </a:cubicBezTo>
                <a:cubicBezTo>
                  <a:pt x="4935919" y="6503020"/>
                  <a:pt x="4946408" y="6492555"/>
                  <a:pt x="4946398" y="6479653"/>
                </a:cubicBezTo>
                <a:lnTo>
                  <a:pt x="4946398" y="6418600"/>
                </a:lnTo>
                <a:lnTo>
                  <a:pt x="4950410" y="6418600"/>
                </a:lnTo>
                <a:cubicBezTo>
                  <a:pt x="4961366" y="6418600"/>
                  <a:pt x="4970316" y="6411680"/>
                  <a:pt x="4970316" y="6400608"/>
                </a:cubicBezTo>
                <a:lnTo>
                  <a:pt x="4946553" y="6400608"/>
                </a:lnTo>
                <a:lnTo>
                  <a:pt x="4946553" y="6355548"/>
                </a:lnTo>
                <a:cubicBezTo>
                  <a:pt x="4946508" y="6354888"/>
                  <a:pt x="4945980" y="6354363"/>
                  <a:pt x="4945318" y="6354318"/>
                </a:cubicBezTo>
                <a:lnTo>
                  <a:pt x="4938992" y="6354318"/>
                </a:lnTo>
                <a:cubicBezTo>
                  <a:pt x="4938981" y="6354318"/>
                  <a:pt x="4938972" y="6354318"/>
                  <a:pt x="4938961" y="6354318"/>
                </a:cubicBezTo>
                <a:close/>
                <a:moveTo>
                  <a:pt x="1347013" y="0"/>
                </a:moveTo>
                <a:lnTo>
                  <a:pt x="5648390" y="0"/>
                </a:lnTo>
                <a:lnTo>
                  <a:pt x="5648390" y="6858000"/>
                </a:lnTo>
                <a:lnTo>
                  <a:pt x="2832054" y="6858000"/>
                </a:lnTo>
                <a:lnTo>
                  <a:pt x="2542780" y="6704098"/>
                </a:lnTo>
                <a:cubicBezTo>
                  <a:pt x="1775561" y="6258023"/>
                  <a:pt x="1089153" y="5591181"/>
                  <a:pt x="612373" y="4803027"/>
                </a:cubicBezTo>
                <a:cubicBezTo>
                  <a:pt x="-442067" y="3059934"/>
                  <a:pt x="-94872" y="1013150"/>
                  <a:pt x="1347013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64556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9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0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iform 14">
            <a:extLst>
              <a:ext uri="{FF2B5EF4-FFF2-40B4-BE49-F238E27FC236}">
                <a16:creationId xmlns:a16="http://schemas.microsoft.com/office/drawing/2014/main" id="{204055B2-352D-6448-9A72-1A5EED21DFD2}"/>
              </a:ext>
            </a:extLst>
          </p:cNvPr>
          <p:cNvSpPr/>
          <p:nvPr userDrawn="1"/>
        </p:nvSpPr>
        <p:spPr>
          <a:xfrm>
            <a:off x="-1482436" y="-2711751"/>
            <a:ext cx="15156872" cy="12281502"/>
          </a:xfrm>
          <a:custGeom>
            <a:avLst/>
            <a:gdLst>
              <a:gd name="connsiteX0" fmla="*/ 1830568 w 8497403"/>
              <a:gd name="connsiteY0" fmla="*/ 0 h 6885384"/>
              <a:gd name="connsiteX1" fmla="*/ 5163325 w 8497403"/>
              <a:gd name="connsiteY1" fmla="*/ 0 h 6885384"/>
              <a:gd name="connsiteX2" fmla="*/ 5351567 w 8497403"/>
              <a:gd name="connsiteY2" fmla="*/ 67016 h 6885384"/>
              <a:gd name="connsiteX3" fmla="*/ 7676290 w 8497403"/>
              <a:gd name="connsiteY3" fmla="*/ 1480192 h 6885384"/>
              <a:gd name="connsiteX4" fmla="*/ 6560340 w 8497403"/>
              <a:gd name="connsiteY4" fmla="*/ 6848103 h 6885384"/>
              <a:gd name="connsiteX5" fmla="*/ 6511295 w 8497403"/>
              <a:gd name="connsiteY5" fmla="*/ 6885384 h 6885384"/>
              <a:gd name="connsiteX6" fmla="*/ 2377437 w 8497403"/>
              <a:gd name="connsiteY6" fmla="*/ 6885384 h 6885384"/>
              <a:gd name="connsiteX7" fmla="*/ 2367568 w 8497403"/>
              <a:gd name="connsiteY7" fmla="*/ 6879513 h 6885384"/>
              <a:gd name="connsiteX8" fmla="*/ 612438 w 8497403"/>
              <a:gd name="connsiteY8" fmla="*/ 5083495 h 6885384"/>
              <a:gd name="connsiteX9" fmla="*/ 1753635 w 8497403"/>
              <a:gd name="connsiteY9" fmla="*/ 35572 h 6885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97403" h="6885384">
                <a:moveTo>
                  <a:pt x="1830568" y="0"/>
                </a:moveTo>
                <a:lnTo>
                  <a:pt x="5163325" y="0"/>
                </a:lnTo>
                <a:lnTo>
                  <a:pt x="5351567" y="67016"/>
                </a:lnTo>
                <a:cubicBezTo>
                  <a:pt x="6193674" y="387876"/>
                  <a:pt x="7002278" y="884812"/>
                  <a:pt x="7676290" y="1480192"/>
                </a:cubicBezTo>
                <a:cubicBezTo>
                  <a:pt x="9404131" y="3007576"/>
                  <a:pt x="8101110" y="5620796"/>
                  <a:pt x="6560340" y="6848103"/>
                </a:cubicBezTo>
                <a:lnTo>
                  <a:pt x="6511295" y="6885384"/>
                </a:lnTo>
                <a:lnTo>
                  <a:pt x="2377437" y="6885384"/>
                </a:lnTo>
                <a:lnTo>
                  <a:pt x="2367568" y="6879513"/>
                </a:lnTo>
                <a:cubicBezTo>
                  <a:pt x="1671357" y="6436727"/>
                  <a:pt x="1052489" y="5811852"/>
                  <a:pt x="612438" y="5083495"/>
                </a:cubicBezTo>
                <a:cubicBezTo>
                  <a:pt x="-535068" y="3185645"/>
                  <a:pt x="-22749" y="927740"/>
                  <a:pt x="1753635" y="35572"/>
                </a:cubicBezTo>
                <a:close/>
              </a:path>
            </a:pathLst>
          </a:custGeom>
          <a:solidFill>
            <a:schemeClr val="bg1"/>
          </a:solidFill>
          <a:ln w="27407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2F47A888-3D4B-5E4F-8B72-AB1C007D4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233" y="1343891"/>
            <a:ext cx="5561534" cy="4405340"/>
          </a:xfr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Friform 8">
            <a:extLst>
              <a:ext uri="{FF2B5EF4-FFF2-40B4-BE49-F238E27FC236}">
                <a16:creationId xmlns:a16="http://schemas.microsoft.com/office/drawing/2014/main" id="{89A4076D-B983-5D46-92F8-6B0EA7806FF6}"/>
              </a:ext>
            </a:extLst>
          </p:cNvPr>
          <p:cNvSpPr/>
          <p:nvPr userDrawn="1"/>
        </p:nvSpPr>
        <p:spPr>
          <a:xfrm>
            <a:off x="11071224" y="6354318"/>
            <a:ext cx="771217" cy="152095"/>
          </a:xfrm>
          <a:custGeom>
            <a:avLst/>
            <a:gdLst>
              <a:gd name="connsiteX0" fmla="*/ 199054 w 771217"/>
              <a:gd name="connsiteY0" fmla="*/ 61515 h 152095"/>
              <a:gd name="connsiteX1" fmla="*/ 173594 w 771217"/>
              <a:gd name="connsiteY1" fmla="*/ 97655 h 152095"/>
              <a:gd name="connsiteX2" fmla="*/ 199054 w 771217"/>
              <a:gd name="connsiteY2" fmla="*/ 133795 h 152095"/>
              <a:gd name="connsiteX3" fmla="*/ 224669 w 771217"/>
              <a:gd name="connsiteY3" fmla="*/ 97655 h 152095"/>
              <a:gd name="connsiteX4" fmla="*/ 199054 w 771217"/>
              <a:gd name="connsiteY4" fmla="*/ 61515 h 152095"/>
              <a:gd name="connsiteX5" fmla="*/ 676473 w 771217"/>
              <a:gd name="connsiteY5" fmla="*/ 46290 h 152095"/>
              <a:gd name="connsiteX6" fmla="*/ 709032 w 771217"/>
              <a:gd name="connsiteY6" fmla="*/ 46290 h 152095"/>
              <a:gd name="connsiteX7" fmla="*/ 771217 w 771217"/>
              <a:gd name="connsiteY7" fmla="*/ 103345 h 152095"/>
              <a:gd name="connsiteX8" fmla="*/ 771217 w 771217"/>
              <a:gd name="connsiteY8" fmla="*/ 147327 h 152095"/>
              <a:gd name="connsiteX9" fmla="*/ 769828 w 771217"/>
              <a:gd name="connsiteY9" fmla="*/ 148711 h 152095"/>
              <a:gd name="connsiteX10" fmla="*/ 703477 w 771217"/>
              <a:gd name="connsiteY10" fmla="*/ 148711 h 152095"/>
              <a:gd name="connsiteX11" fmla="*/ 664129 w 771217"/>
              <a:gd name="connsiteY11" fmla="*/ 117185 h 152095"/>
              <a:gd name="connsiteX12" fmla="*/ 705328 w 771217"/>
              <a:gd name="connsiteY12" fmla="*/ 85813 h 152095"/>
              <a:gd name="connsiteX13" fmla="*/ 707952 w 771217"/>
              <a:gd name="connsiteY13" fmla="*/ 85813 h 152095"/>
              <a:gd name="connsiteX14" fmla="*/ 726931 w 771217"/>
              <a:gd name="connsiteY14" fmla="*/ 103498 h 152095"/>
              <a:gd name="connsiteX15" fmla="*/ 726931 w 771217"/>
              <a:gd name="connsiteY15" fmla="*/ 104729 h 152095"/>
              <a:gd name="connsiteX16" fmla="*/ 708415 w 771217"/>
              <a:gd name="connsiteY16" fmla="*/ 104729 h 152095"/>
              <a:gd name="connsiteX17" fmla="*/ 695762 w 771217"/>
              <a:gd name="connsiteY17" fmla="*/ 116716 h 152095"/>
              <a:gd name="connsiteX18" fmla="*/ 695762 w 771217"/>
              <a:gd name="connsiteY18" fmla="*/ 116724 h 152095"/>
              <a:gd name="connsiteX19" fmla="*/ 695762 w 771217"/>
              <a:gd name="connsiteY19" fmla="*/ 117185 h 152095"/>
              <a:gd name="connsiteX20" fmla="*/ 708415 w 771217"/>
              <a:gd name="connsiteY20" fmla="*/ 129796 h 152095"/>
              <a:gd name="connsiteX21" fmla="*/ 740664 w 771217"/>
              <a:gd name="connsiteY21" fmla="*/ 129796 h 152095"/>
              <a:gd name="connsiteX22" fmla="*/ 740664 w 771217"/>
              <a:gd name="connsiteY22" fmla="*/ 99346 h 152095"/>
              <a:gd name="connsiteX23" fmla="*/ 707026 w 771217"/>
              <a:gd name="connsiteY23" fmla="*/ 65821 h 152095"/>
              <a:gd name="connsiteX24" fmla="*/ 696224 w 771217"/>
              <a:gd name="connsiteY24" fmla="*/ 65821 h 152095"/>
              <a:gd name="connsiteX25" fmla="*/ 676475 w 771217"/>
              <a:gd name="connsiteY25" fmla="*/ 46662 h 152095"/>
              <a:gd name="connsiteX26" fmla="*/ 676473 w 771217"/>
              <a:gd name="connsiteY26" fmla="*/ 46598 h 152095"/>
              <a:gd name="connsiteX27" fmla="*/ 476154 w 771217"/>
              <a:gd name="connsiteY27" fmla="*/ 46290 h 152095"/>
              <a:gd name="connsiteX28" fmla="*/ 476185 w 771217"/>
              <a:gd name="connsiteY28" fmla="*/ 46290 h 152095"/>
              <a:gd name="connsiteX29" fmla="*/ 481740 w 771217"/>
              <a:gd name="connsiteY29" fmla="*/ 46290 h 152095"/>
              <a:gd name="connsiteX30" fmla="*/ 482975 w 771217"/>
              <a:gd name="connsiteY30" fmla="*/ 47520 h 152095"/>
              <a:gd name="connsiteX31" fmla="*/ 482975 w 771217"/>
              <a:gd name="connsiteY31" fmla="*/ 107650 h 152095"/>
              <a:gd name="connsiteX32" fmla="*/ 504732 w 771217"/>
              <a:gd name="connsiteY32" fmla="*/ 132256 h 152095"/>
              <a:gd name="connsiteX33" fmla="*/ 526489 w 771217"/>
              <a:gd name="connsiteY33" fmla="*/ 107650 h 152095"/>
              <a:gd name="connsiteX34" fmla="*/ 526489 w 771217"/>
              <a:gd name="connsiteY34" fmla="*/ 69665 h 152095"/>
              <a:gd name="connsiteX35" fmla="*/ 549912 w 771217"/>
              <a:gd name="connsiteY35" fmla="*/ 46290 h 152095"/>
              <a:gd name="connsiteX36" fmla="*/ 549943 w 771217"/>
              <a:gd name="connsiteY36" fmla="*/ 46290 h 152095"/>
              <a:gd name="connsiteX37" fmla="*/ 555498 w 771217"/>
              <a:gd name="connsiteY37" fmla="*/ 46290 h 152095"/>
              <a:gd name="connsiteX38" fmla="*/ 556887 w 771217"/>
              <a:gd name="connsiteY38" fmla="*/ 47366 h 152095"/>
              <a:gd name="connsiteX39" fmla="*/ 556887 w 771217"/>
              <a:gd name="connsiteY39" fmla="*/ 105190 h 152095"/>
              <a:gd name="connsiteX40" fmla="*/ 504886 w 771217"/>
              <a:gd name="connsiteY40" fmla="*/ 152095 h 152095"/>
              <a:gd name="connsiteX41" fmla="*/ 452731 w 771217"/>
              <a:gd name="connsiteY41" fmla="*/ 105344 h 152095"/>
              <a:gd name="connsiteX42" fmla="*/ 452731 w 771217"/>
              <a:gd name="connsiteY42" fmla="*/ 69665 h 152095"/>
              <a:gd name="connsiteX43" fmla="*/ 476154 w 771217"/>
              <a:gd name="connsiteY43" fmla="*/ 46290 h 152095"/>
              <a:gd name="connsiteX44" fmla="*/ 330522 w 771217"/>
              <a:gd name="connsiteY44" fmla="*/ 43829 h 152095"/>
              <a:gd name="connsiteX45" fmla="*/ 353822 w 771217"/>
              <a:gd name="connsiteY45" fmla="*/ 64283 h 152095"/>
              <a:gd name="connsiteX46" fmla="*/ 331139 w 771217"/>
              <a:gd name="connsiteY46" fmla="*/ 64129 h 152095"/>
              <a:gd name="connsiteX47" fmla="*/ 309382 w 771217"/>
              <a:gd name="connsiteY47" fmla="*/ 90580 h 152095"/>
              <a:gd name="connsiteX48" fmla="*/ 309382 w 771217"/>
              <a:gd name="connsiteY48" fmla="*/ 147481 h 152095"/>
              <a:gd name="connsiteX49" fmla="*/ 308179 w 771217"/>
              <a:gd name="connsiteY49" fmla="*/ 148711 h 152095"/>
              <a:gd name="connsiteX50" fmla="*/ 308148 w 771217"/>
              <a:gd name="connsiteY50" fmla="*/ 148711 h 152095"/>
              <a:gd name="connsiteX51" fmla="*/ 301821 w 771217"/>
              <a:gd name="connsiteY51" fmla="*/ 148711 h 152095"/>
              <a:gd name="connsiteX52" fmla="*/ 278367 w 771217"/>
              <a:gd name="connsiteY52" fmla="*/ 125366 h 152095"/>
              <a:gd name="connsiteX53" fmla="*/ 278367 w 771217"/>
              <a:gd name="connsiteY53" fmla="*/ 125336 h 152095"/>
              <a:gd name="connsiteX54" fmla="*/ 278367 w 771217"/>
              <a:gd name="connsiteY54" fmla="*/ 47674 h 152095"/>
              <a:gd name="connsiteX55" fmla="*/ 279601 w 771217"/>
              <a:gd name="connsiteY55" fmla="*/ 46443 h 152095"/>
              <a:gd name="connsiteX56" fmla="*/ 285928 w 771217"/>
              <a:gd name="connsiteY56" fmla="*/ 46443 h 152095"/>
              <a:gd name="connsiteX57" fmla="*/ 304907 w 771217"/>
              <a:gd name="connsiteY57" fmla="*/ 56132 h 152095"/>
              <a:gd name="connsiteX58" fmla="*/ 330522 w 771217"/>
              <a:gd name="connsiteY58" fmla="*/ 43829 h 152095"/>
              <a:gd name="connsiteX59" fmla="*/ 636817 w 771217"/>
              <a:gd name="connsiteY59" fmla="*/ 43676 h 152095"/>
              <a:gd name="connsiteX60" fmla="*/ 661043 w 771217"/>
              <a:gd name="connsiteY60" fmla="*/ 64130 h 152095"/>
              <a:gd name="connsiteX61" fmla="*/ 637434 w 771217"/>
              <a:gd name="connsiteY61" fmla="*/ 64130 h 152095"/>
              <a:gd name="connsiteX62" fmla="*/ 615677 w 771217"/>
              <a:gd name="connsiteY62" fmla="*/ 90581 h 152095"/>
              <a:gd name="connsiteX63" fmla="*/ 615677 w 771217"/>
              <a:gd name="connsiteY63" fmla="*/ 147481 h 152095"/>
              <a:gd name="connsiteX64" fmla="*/ 614473 w 771217"/>
              <a:gd name="connsiteY64" fmla="*/ 148712 h 152095"/>
              <a:gd name="connsiteX65" fmla="*/ 614443 w 771217"/>
              <a:gd name="connsiteY65" fmla="*/ 148712 h 152095"/>
              <a:gd name="connsiteX66" fmla="*/ 608270 w 771217"/>
              <a:gd name="connsiteY66" fmla="*/ 148712 h 152095"/>
              <a:gd name="connsiteX67" fmla="*/ 584816 w 771217"/>
              <a:gd name="connsiteY67" fmla="*/ 125367 h 152095"/>
              <a:gd name="connsiteX68" fmla="*/ 584816 w 771217"/>
              <a:gd name="connsiteY68" fmla="*/ 125336 h 152095"/>
              <a:gd name="connsiteX69" fmla="*/ 584816 w 771217"/>
              <a:gd name="connsiteY69" fmla="*/ 47674 h 152095"/>
              <a:gd name="connsiteX70" fmla="*/ 586050 w 771217"/>
              <a:gd name="connsiteY70" fmla="*/ 46444 h 152095"/>
              <a:gd name="connsiteX71" fmla="*/ 592377 w 771217"/>
              <a:gd name="connsiteY71" fmla="*/ 46444 h 152095"/>
              <a:gd name="connsiteX72" fmla="*/ 611202 w 771217"/>
              <a:gd name="connsiteY72" fmla="*/ 55979 h 152095"/>
              <a:gd name="connsiteX73" fmla="*/ 636817 w 771217"/>
              <a:gd name="connsiteY73" fmla="*/ 43676 h 152095"/>
              <a:gd name="connsiteX74" fmla="*/ 199054 w 771217"/>
              <a:gd name="connsiteY74" fmla="*/ 43061 h 152095"/>
              <a:gd name="connsiteX75" fmla="*/ 257227 w 771217"/>
              <a:gd name="connsiteY75" fmla="*/ 97501 h 152095"/>
              <a:gd name="connsiteX76" fmla="*/ 199054 w 771217"/>
              <a:gd name="connsiteY76" fmla="*/ 151941 h 152095"/>
              <a:gd name="connsiteX77" fmla="*/ 141190 w 771217"/>
              <a:gd name="connsiteY77" fmla="*/ 97655 h 152095"/>
              <a:gd name="connsiteX78" fmla="*/ 199054 w 771217"/>
              <a:gd name="connsiteY78" fmla="*/ 43061 h 152095"/>
              <a:gd name="connsiteX79" fmla="*/ 1203 w 771217"/>
              <a:gd name="connsiteY79" fmla="*/ 14764 h 152095"/>
              <a:gd name="connsiteX80" fmla="*/ 1235 w 771217"/>
              <a:gd name="connsiteY80" fmla="*/ 14764 h 152095"/>
              <a:gd name="connsiteX81" fmla="*/ 42125 w 771217"/>
              <a:gd name="connsiteY81" fmla="*/ 14764 h 152095"/>
              <a:gd name="connsiteX82" fmla="*/ 120667 w 771217"/>
              <a:gd name="connsiteY82" fmla="*/ 93809 h 152095"/>
              <a:gd name="connsiteX83" fmla="*/ 120667 w 771217"/>
              <a:gd name="connsiteY83" fmla="*/ 125336 h 152095"/>
              <a:gd name="connsiteX84" fmla="*/ 97490 w 771217"/>
              <a:gd name="connsiteY84" fmla="*/ 148711 h 152095"/>
              <a:gd name="connsiteX85" fmla="*/ 97367 w 771217"/>
              <a:gd name="connsiteY85" fmla="*/ 148711 h 152095"/>
              <a:gd name="connsiteX86" fmla="*/ 97058 w 771217"/>
              <a:gd name="connsiteY86" fmla="*/ 148711 h 152095"/>
              <a:gd name="connsiteX87" fmla="*/ 89497 w 771217"/>
              <a:gd name="connsiteY87" fmla="*/ 148711 h 152095"/>
              <a:gd name="connsiteX88" fmla="*/ 88263 w 771217"/>
              <a:gd name="connsiteY88" fmla="*/ 147512 h 152095"/>
              <a:gd name="connsiteX89" fmla="*/ 88263 w 771217"/>
              <a:gd name="connsiteY89" fmla="*/ 147481 h 152095"/>
              <a:gd name="connsiteX90" fmla="*/ 88263 w 771217"/>
              <a:gd name="connsiteY90" fmla="*/ 88888 h 152095"/>
              <a:gd name="connsiteX91" fmla="*/ 32250 w 771217"/>
              <a:gd name="connsiteY91" fmla="*/ 34294 h 152095"/>
              <a:gd name="connsiteX92" fmla="*/ 32250 w 771217"/>
              <a:gd name="connsiteY92" fmla="*/ 125182 h 152095"/>
              <a:gd name="connsiteX93" fmla="*/ 8826 w 771217"/>
              <a:gd name="connsiteY93" fmla="*/ 148557 h 152095"/>
              <a:gd name="connsiteX94" fmla="*/ 8795 w 771217"/>
              <a:gd name="connsiteY94" fmla="*/ 148557 h 152095"/>
              <a:gd name="connsiteX95" fmla="*/ 1235 w 771217"/>
              <a:gd name="connsiteY95" fmla="*/ 148557 h 152095"/>
              <a:gd name="connsiteX96" fmla="*/ 0 w 771217"/>
              <a:gd name="connsiteY96" fmla="*/ 147358 h 152095"/>
              <a:gd name="connsiteX97" fmla="*/ 0 w 771217"/>
              <a:gd name="connsiteY97" fmla="*/ 147327 h 152095"/>
              <a:gd name="connsiteX98" fmla="*/ 0 w 771217"/>
              <a:gd name="connsiteY98" fmla="*/ 15994 h 152095"/>
              <a:gd name="connsiteX99" fmla="*/ 1203 w 771217"/>
              <a:gd name="connsiteY99" fmla="*/ 14764 h 152095"/>
              <a:gd name="connsiteX100" fmla="*/ 411347 w 771217"/>
              <a:gd name="connsiteY100" fmla="*/ 0 h 152095"/>
              <a:gd name="connsiteX101" fmla="*/ 411378 w 771217"/>
              <a:gd name="connsiteY101" fmla="*/ 0 h 152095"/>
              <a:gd name="connsiteX102" fmla="*/ 417704 w 771217"/>
              <a:gd name="connsiteY102" fmla="*/ 0 h 152095"/>
              <a:gd name="connsiteX103" fmla="*/ 418939 w 771217"/>
              <a:gd name="connsiteY103" fmla="*/ 1230 h 152095"/>
              <a:gd name="connsiteX104" fmla="*/ 418939 w 771217"/>
              <a:gd name="connsiteY104" fmla="*/ 46290 h 152095"/>
              <a:gd name="connsiteX105" fmla="*/ 442702 w 771217"/>
              <a:gd name="connsiteY105" fmla="*/ 46290 h 152095"/>
              <a:gd name="connsiteX106" fmla="*/ 422796 w 771217"/>
              <a:gd name="connsiteY106" fmla="*/ 64282 h 152095"/>
              <a:gd name="connsiteX107" fmla="*/ 418784 w 771217"/>
              <a:gd name="connsiteY107" fmla="*/ 64282 h 152095"/>
              <a:gd name="connsiteX108" fmla="*/ 418784 w 771217"/>
              <a:gd name="connsiteY108" fmla="*/ 125335 h 152095"/>
              <a:gd name="connsiteX109" fmla="*/ 395361 w 771217"/>
              <a:gd name="connsiteY109" fmla="*/ 148711 h 152095"/>
              <a:gd name="connsiteX110" fmla="*/ 395330 w 771217"/>
              <a:gd name="connsiteY110" fmla="*/ 148711 h 152095"/>
              <a:gd name="connsiteX111" fmla="*/ 389158 w 771217"/>
              <a:gd name="connsiteY111" fmla="*/ 148711 h 152095"/>
              <a:gd name="connsiteX112" fmla="*/ 387923 w 771217"/>
              <a:gd name="connsiteY112" fmla="*/ 147512 h 152095"/>
              <a:gd name="connsiteX113" fmla="*/ 387923 w 771217"/>
              <a:gd name="connsiteY113" fmla="*/ 147481 h 152095"/>
              <a:gd name="connsiteX114" fmla="*/ 387923 w 771217"/>
              <a:gd name="connsiteY114" fmla="*/ 64282 h 152095"/>
              <a:gd name="connsiteX115" fmla="*/ 364006 w 771217"/>
              <a:gd name="connsiteY115" fmla="*/ 64282 h 152095"/>
              <a:gd name="connsiteX116" fmla="*/ 383911 w 771217"/>
              <a:gd name="connsiteY116" fmla="*/ 46443 h 152095"/>
              <a:gd name="connsiteX117" fmla="*/ 387923 w 771217"/>
              <a:gd name="connsiteY117" fmla="*/ 46443 h 152095"/>
              <a:gd name="connsiteX118" fmla="*/ 387923 w 771217"/>
              <a:gd name="connsiteY118" fmla="*/ 23375 h 152095"/>
              <a:gd name="connsiteX119" fmla="*/ 411347 w 771217"/>
              <a:gd name="connsiteY119" fmla="*/ 0 h 152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771217" h="152095">
                <a:moveTo>
                  <a:pt x="199054" y="61515"/>
                </a:moveTo>
                <a:cubicBezTo>
                  <a:pt x="185013" y="61515"/>
                  <a:pt x="173594" y="77663"/>
                  <a:pt x="173594" y="97655"/>
                </a:cubicBezTo>
                <a:cubicBezTo>
                  <a:pt x="173594" y="117647"/>
                  <a:pt x="185013" y="133795"/>
                  <a:pt x="199054" y="133795"/>
                </a:cubicBezTo>
                <a:cubicBezTo>
                  <a:pt x="213096" y="133795"/>
                  <a:pt x="224669" y="117647"/>
                  <a:pt x="224669" y="97655"/>
                </a:cubicBezTo>
                <a:cubicBezTo>
                  <a:pt x="224669" y="77663"/>
                  <a:pt x="213250" y="61515"/>
                  <a:pt x="199054" y="61515"/>
                </a:cubicBezTo>
                <a:close/>
                <a:moveTo>
                  <a:pt x="676473" y="46290"/>
                </a:moveTo>
                <a:lnTo>
                  <a:pt x="709032" y="46290"/>
                </a:lnTo>
                <a:cubicBezTo>
                  <a:pt x="752546" y="46290"/>
                  <a:pt x="771217" y="68128"/>
                  <a:pt x="771217" y="103345"/>
                </a:cubicBezTo>
                <a:lnTo>
                  <a:pt x="771217" y="147327"/>
                </a:lnTo>
                <a:cubicBezTo>
                  <a:pt x="771062" y="148096"/>
                  <a:pt x="770599" y="148711"/>
                  <a:pt x="769828" y="148711"/>
                </a:cubicBezTo>
                <a:lnTo>
                  <a:pt x="703477" y="148711"/>
                </a:lnTo>
                <a:cubicBezTo>
                  <a:pt x="681257" y="148711"/>
                  <a:pt x="664129" y="134563"/>
                  <a:pt x="664129" y="117185"/>
                </a:cubicBezTo>
                <a:cubicBezTo>
                  <a:pt x="664129" y="99807"/>
                  <a:pt x="681565" y="85813"/>
                  <a:pt x="705328" y="85813"/>
                </a:cubicBezTo>
                <a:lnTo>
                  <a:pt x="707952" y="85813"/>
                </a:lnTo>
                <a:cubicBezTo>
                  <a:pt x="718063" y="85552"/>
                  <a:pt x="726513" y="93426"/>
                  <a:pt x="726931" y="103498"/>
                </a:cubicBezTo>
                <a:lnTo>
                  <a:pt x="726931" y="104729"/>
                </a:lnTo>
                <a:lnTo>
                  <a:pt x="708415" y="104729"/>
                </a:lnTo>
                <a:cubicBezTo>
                  <a:pt x="701599" y="104557"/>
                  <a:pt x="695934" y="109924"/>
                  <a:pt x="695762" y="116716"/>
                </a:cubicBezTo>
                <a:cubicBezTo>
                  <a:pt x="695762" y="116719"/>
                  <a:pt x="695762" y="116721"/>
                  <a:pt x="695762" y="116724"/>
                </a:cubicBezTo>
                <a:lnTo>
                  <a:pt x="695762" y="117185"/>
                </a:lnTo>
                <a:cubicBezTo>
                  <a:pt x="695795" y="124136"/>
                  <a:pt x="701440" y="129762"/>
                  <a:pt x="708415" y="129796"/>
                </a:cubicBezTo>
                <a:lnTo>
                  <a:pt x="740664" y="129796"/>
                </a:lnTo>
                <a:lnTo>
                  <a:pt x="740664" y="99346"/>
                </a:lnTo>
                <a:cubicBezTo>
                  <a:pt x="740664" y="78585"/>
                  <a:pt x="729246" y="65821"/>
                  <a:pt x="707026" y="65821"/>
                </a:cubicBezTo>
                <a:lnTo>
                  <a:pt x="696224" y="65821"/>
                </a:lnTo>
                <a:cubicBezTo>
                  <a:pt x="685462" y="65966"/>
                  <a:pt x="676620" y="57388"/>
                  <a:pt x="676475" y="46662"/>
                </a:cubicBezTo>
                <a:cubicBezTo>
                  <a:pt x="676473" y="46640"/>
                  <a:pt x="676473" y="46619"/>
                  <a:pt x="676473" y="46598"/>
                </a:cubicBezTo>
                <a:close/>
                <a:moveTo>
                  <a:pt x="476154" y="46290"/>
                </a:moveTo>
                <a:cubicBezTo>
                  <a:pt x="476165" y="46290"/>
                  <a:pt x="476175" y="46290"/>
                  <a:pt x="476185" y="46290"/>
                </a:cubicBezTo>
                <a:lnTo>
                  <a:pt x="481740" y="46290"/>
                </a:lnTo>
                <a:cubicBezTo>
                  <a:pt x="482402" y="46334"/>
                  <a:pt x="482930" y="46860"/>
                  <a:pt x="482975" y="47520"/>
                </a:cubicBezTo>
                <a:lnTo>
                  <a:pt x="482975" y="107650"/>
                </a:lnTo>
                <a:cubicBezTo>
                  <a:pt x="482975" y="121645"/>
                  <a:pt x="492696" y="132256"/>
                  <a:pt x="504732" y="132256"/>
                </a:cubicBezTo>
                <a:cubicBezTo>
                  <a:pt x="516768" y="132256"/>
                  <a:pt x="526489" y="121491"/>
                  <a:pt x="526489" y="107650"/>
                </a:cubicBezTo>
                <a:lnTo>
                  <a:pt x="526489" y="69665"/>
                </a:lnTo>
                <a:cubicBezTo>
                  <a:pt x="526480" y="56764"/>
                  <a:pt x="536968" y="46298"/>
                  <a:pt x="549912" y="46290"/>
                </a:cubicBezTo>
                <a:cubicBezTo>
                  <a:pt x="549923" y="46290"/>
                  <a:pt x="549932" y="46290"/>
                  <a:pt x="549943" y="46290"/>
                </a:cubicBezTo>
                <a:lnTo>
                  <a:pt x="555498" y="46290"/>
                </a:lnTo>
                <a:cubicBezTo>
                  <a:pt x="556115" y="46136"/>
                  <a:pt x="556733" y="46751"/>
                  <a:pt x="556887" y="47366"/>
                </a:cubicBezTo>
                <a:lnTo>
                  <a:pt x="556887" y="105190"/>
                </a:lnTo>
                <a:cubicBezTo>
                  <a:pt x="557041" y="131795"/>
                  <a:pt x="533741" y="152095"/>
                  <a:pt x="504886" y="152095"/>
                </a:cubicBezTo>
                <a:cubicBezTo>
                  <a:pt x="476031" y="152095"/>
                  <a:pt x="452731" y="131641"/>
                  <a:pt x="452731" y="105344"/>
                </a:cubicBezTo>
                <a:lnTo>
                  <a:pt x="452731" y="69665"/>
                </a:lnTo>
                <a:cubicBezTo>
                  <a:pt x="452722" y="56764"/>
                  <a:pt x="463210" y="46298"/>
                  <a:pt x="476154" y="46290"/>
                </a:cubicBezTo>
                <a:close/>
                <a:moveTo>
                  <a:pt x="330522" y="43829"/>
                </a:moveTo>
                <a:cubicBezTo>
                  <a:pt x="347804" y="43829"/>
                  <a:pt x="353822" y="53210"/>
                  <a:pt x="353822" y="64283"/>
                </a:cubicBezTo>
                <a:lnTo>
                  <a:pt x="331139" y="64129"/>
                </a:lnTo>
                <a:cubicBezTo>
                  <a:pt x="313857" y="64129"/>
                  <a:pt x="309382" y="71664"/>
                  <a:pt x="309382" y="90580"/>
                </a:cubicBezTo>
                <a:lnTo>
                  <a:pt x="309382" y="147481"/>
                </a:lnTo>
                <a:cubicBezTo>
                  <a:pt x="309392" y="148152"/>
                  <a:pt x="308852" y="148702"/>
                  <a:pt x="308179" y="148711"/>
                </a:cubicBezTo>
                <a:cubicBezTo>
                  <a:pt x="308168" y="148711"/>
                  <a:pt x="308159" y="148711"/>
                  <a:pt x="308148" y="148711"/>
                </a:cubicBezTo>
                <a:lnTo>
                  <a:pt x="301821" y="148711"/>
                </a:lnTo>
                <a:cubicBezTo>
                  <a:pt x="288877" y="148719"/>
                  <a:pt x="278376" y="138268"/>
                  <a:pt x="278367" y="125366"/>
                </a:cubicBezTo>
                <a:cubicBezTo>
                  <a:pt x="278367" y="125356"/>
                  <a:pt x="278367" y="125346"/>
                  <a:pt x="278367" y="125336"/>
                </a:cubicBezTo>
                <a:lnTo>
                  <a:pt x="278367" y="47674"/>
                </a:lnTo>
                <a:cubicBezTo>
                  <a:pt x="278412" y="47014"/>
                  <a:pt x="278939" y="46488"/>
                  <a:pt x="279601" y="46443"/>
                </a:cubicBezTo>
                <a:lnTo>
                  <a:pt x="285928" y="46443"/>
                </a:lnTo>
                <a:cubicBezTo>
                  <a:pt x="293455" y="46421"/>
                  <a:pt x="300527" y="50031"/>
                  <a:pt x="304907" y="56132"/>
                </a:cubicBezTo>
                <a:cubicBezTo>
                  <a:pt x="311388" y="47827"/>
                  <a:pt x="316326" y="43829"/>
                  <a:pt x="330522" y="43829"/>
                </a:cubicBezTo>
                <a:close/>
                <a:moveTo>
                  <a:pt x="636817" y="43676"/>
                </a:moveTo>
                <a:cubicBezTo>
                  <a:pt x="654099" y="43676"/>
                  <a:pt x="661043" y="53057"/>
                  <a:pt x="661043" y="64130"/>
                </a:cubicBezTo>
                <a:lnTo>
                  <a:pt x="637434" y="64130"/>
                </a:lnTo>
                <a:cubicBezTo>
                  <a:pt x="620306" y="64130"/>
                  <a:pt x="615677" y="71665"/>
                  <a:pt x="615677" y="90581"/>
                </a:cubicBezTo>
                <a:lnTo>
                  <a:pt x="615677" y="147481"/>
                </a:lnTo>
                <a:cubicBezTo>
                  <a:pt x="615686" y="148152"/>
                  <a:pt x="615146" y="148703"/>
                  <a:pt x="614473" y="148712"/>
                </a:cubicBezTo>
                <a:cubicBezTo>
                  <a:pt x="614463" y="148712"/>
                  <a:pt x="614453" y="148712"/>
                  <a:pt x="614443" y="148712"/>
                </a:cubicBezTo>
                <a:lnTo>
                  <a:pt x="608270" y="148712"/>
                </a:lnTo>
                <a:cubicBezTo>
                  <a:pt x="595326" y="148720"/>
                  <a:pt x="584825" y="138268"/>
                  <a:pt x="584816" y="125367"/>
                </a:cubicBezTo>
                <a:cubicBezTo>
                  <a:pt x="584816" y="125357"/>
                  <a:pt x="584816" y="125347"/>
                  <a:pt x="584816" y="125336"/>
                </a:cubicBezTo>
                <a:lnTo>
                  <a:pt x="584816" y="47674"/>
                </a:lnTo>
                <a:cubicBezTo>
                  <a:pt x="584861" y="47014"/>
                  <a:pt x="585388" y="46489"/>
                  <a:pt x="586050" y="46444"/>
                </a:cubicBezTo>
                <a:lnTo>
                  <a:pt x="592377" y="46444"/>
                </a:lnTo>
                <a:cubicBezTo>
                  <a:pt x="599805" y="46502"/>
                  <a:pt x="606777" y="50033"/>
                  <a:pt x="611202" y="55979"/>
                </a:cubicBezTo>
                <a:cubicBezTo>
                  <a:pt x="617683" y="47674"/>
                  <a:pt x="622621" y="43676"/>
                  <a:pt x="636817" y="43676"/>
                </a:cubicBezTo>
                <a:close/>
                <a:moveTo>
                  <a:pt x="199054" y="43061"/>
                </a:moveTo>
                <a:cubicBezTo>
                  <a:pt x="231613" y="43061"/>
                  <a:pt x="257227" y="67667"/>
                  <a:pt x="257227" y="97501"/>
                </a:cubicBezTo>
                <a:cubicBezTo>
                  <a:pt x="257227" y="127336"/>
                  <a:pt x="231767" y="151941"/>
                  <a:pt x="199054" y="151941"/>
                </a:cubicBezTo>
                <a:cubicBezTo>
                  <a:pt x="166496" y="151941"/>
                  <a:pt x="141190" y="127643"/>
                  <a:pt x="141190" y="97655"/>
                </a:cubicBezTo>
                <a:cubicBezTo>
                  <a:pt x="141190" y="67667"/>
                  <a:pt x="166496" y="43061"/>
                  <a:pt x="199054" y="43061"/>
                </a:cubicBezTo>
                <a:close/>
                <a:moveTo>
                  <a:pt x="1203" y="14764"/>
                </a:moveTo>
                <a:cubicBezTo>
                  <a:pt x="1214" y="14763"/>
                  <a:pt x="1224" y="14763"/>
                  <a:pt x="1235" y="14764"/>
                </a:cubicBezTo>
                <a:lnTo>
                  <a:pt x="42125" y="14764"/>
                </a:lnTo>
                <a:cubicBezTo>
                  <a:pt x="87645" y="14610"/>
                  <a:pt x="120667" y="47674"/>
                  <a:pt x="120667" y="93809"/>
                </a:cubicBezTo>
                <a:lnTo>
                  <a:pt x="120667" y="125336"/>
                </a:lnTo>
                <a:cubicBezTo>
                  <a:pt x="120743" y="138169"/>
                  <a:pt x="110367" y="148634"/>
                  <a:pt x="97490" y="148711"/>
                </a:cubicBezTo>
                <a:cubicBezTo>
                  <a:pt x="97449" y="148711"/>
                  <a:pt x="97408" y="148711"/>
                  <a:pt x="97367" y="148711"/>
                </a:cubicBezTo>
                <a:lnTo>
                  <a:pt x="97058" y="148711"/>
                </a:lnTo>
                <a:lnTo>
                  <a:pt x="89497" y="148711"/>
                </a:lnTo>
                <a:cubicBezTo>
                  <a:pt x="88824" y="148720"/>
                  <a:pt x="88271" y="148183"/>
                  <a:pt x="88263" y="147512"/>
                </a:cubicBezTo>
                <a:cubicBezTo>
                  <a:pt x="88262" y="147501"/>
                  <a:pt x="88262" y="147491"/>
                  <a:pt x="88263" y="147481"/>
                </a:cubicBezTo>
                <a:lnTo>
                  <a:pt x="88263" y="88888"/>
                </a:lnTo>
                <a:cubicBezTo>
                  <a:pt x="88263" y="56901"/>
                  <a:pt x="68666" y="34294"/>
                  <a:pt x="32250" y="34294"/>
                </a:cubicBezTo>
                <a:lnTo>
                  <a:pt x="32250" y="125182"/>
                </a:lnTo>
                <a:cubicBezTo>
                  <a:pt x="32258" y="138083"/>
                  <a:pt x="21771" y="148549"/>
                  <a:pt x="8826" y="148557"/>
                </a:cubicBezTo>
                <a:cubicBezTo>
                  <a:pt x="8816" y="148557"/>
                  <a:pt x="8806" y="148557"/>
                  <a:pt x="8795" y="148557"/>
                </a:cubicBezTo>
                <a:lnTo>
                  <a:pt x="1235" y="148557"/>
                </a:lnTo>
                <a:cubicBezTo>
                  <a:pt x="561" y="148566"/>
                  <a:pt x="9" y="148029"/>
                  <a:pt x="0" y="147358"/>
                </a:cubicBezTo>
                <a:cubicBezTo>
                  <a:pt x="0" y="147348"/>
                  <a:pt x="0" y="147337"/>
                  <a:pt x="0" y="147327"/>
                </a:cubicBezTo>
                <a:lnTo>
                  <a:pt x="0" y="15994"/>
                </a:lnTo>
                <a:cubicBezTo>
                  <a:pt x="-8" y="15323"/>
                  <a:pt x="530" y="14772"/>
                  <a:pt x="1203" y="14764"/>
                </a:cubicBezTo>
                <a:close/>
                <a:moveTo>
                  <a:pt x="411347" y="0"/>
                </a:moveTo>
                <a:cubicBezTo>
                  <a:pt x="411358" y="0"/>
                  <a:pt x="411367" y="0"/>
                  <a:pt x="411378" y="0"/>
                </a:cubicBezTo>
                <a:lnTo>
                  <a:pt x="417704" y="0"/>
                </a:lnTo>
                <a:cubicBezTo>
                  <a:pt x="418366" y="45"/>
                  <a:pt x="418894" y="570"/>
                  <a:pt x="418939" y="1230"/>
                </a:cubicBezTo>
                <a:lnTo>
                  <a:pt x="418939" y="46290"/>
                </a:lnTo>
                <a:lnTo>
                  <a:pt x="442702" y="46290"/>
                </a:lnTo>
                <a:cubicBezTo>
                  <a:pt x="442702" y="57362"/>
                  <a:pt x="433752" y="64282"/>
                  <a:pt x="422796" y="64282"/>
                </a:cubicBezTo>
                <a:lnTo>
                  <a:pt x="418784" y="64282"/>
                </a:lnTo>
                <a:lnTo>
                  <a:pt x="418784" y="125335"/>
                </a:lnTo>
                <a:cubicBezTo>
                  <a:pt x="418794" y="138237"/>
                  <a:pt x="408305" y="148702"/>
                  <a:pt x="395361" y="148711"/>
                </a:cubicBezTo>
                <a:cubicBezTo>
                  <a:pt x="395350" y="148711"/>
                  <a:pt x="395341" y="148711"/>
                  <a:pt x="395330" y="148711"/>
                </a:cubicBezTo>
                <a:lnTo>
                  <a:pt x="389158" y="148711"/>
                </a:lnTo>
                <a:cubicBezTo>
                  <a:pt x="388485" y="148720"/>
                  <a:pt x="387933" y="148183"/>
                  <a:pt x="387923" y="147512"/>
                </a:cubicBezTo>
                <a:cubicBezTo>
                  <a:pt x="387923" y="147501"/>
                  <a:pt x="387923" y="147491"/>
                  <a:pt x="387923" y="147481"/>
                </a:cubicBezTo>
                <a:lnTo>
                  <a:pt x="387923" y="64282"/>
                </a:lnTo>
                <a:lnTo>
                  <a:pt x="364006" y="64282"/>
                </a:lnTo>
                <a:cubicBezTo>
                  <a:pt x="364006" y="53364"/>
                  <a:pt x="372801" y="46443"/>
                  <a:pt x="383911" y="46443"/>
                </a:cubicBezTo>
                <a:lnTo>
                  <a:pt x="387923" y="46443"/>
                </a:lnTo>
                <a:lnTo>
                  <a:pt x="387923" y="23375"/>
                </a:lnTo>
                <a:cubicBezTo>
                  <a:pt x="387914" y="10474"/>
                  <a:pt x="398402" y="9"/>
                  <a:pt x="411347" y="0"/>
                </a:cubicBezTo>
                <a:close/>
              </a:path>
            </a:pathLst>
          </a:custGeom>
          <a:solidFill>
            <a:schemeClr val="bg1"/>
          </a:solidFill>
          <a:ln w="1543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9166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15"/>
                                        </p:tgtEl>
                                      </p:cBhvr>
                                      <p:by x="56000" y="56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orient="horz" pos="4320">
          <p15:clr>
            <a:srgbClr val="FBAE40"/>
          </p15:clr>
        </p15:guide>
        <p15:guide id="3" pos="7680">
          <p15:clr>
            <a:srgbClr val="FBAE40"/>
          </p15:clr>
        </p15:guide>
        <p15:guide id="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0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rafikk 3">
            <a:extLst>
              <a:ext uri="{FF2B5EF4-FFF2-40B4-BE49-F238E27FC236}">
                <a16:creationId xmlns:a16="http://schemas.microsoft.com/office/drawing/2014/main" id="{9ABC3BC1-A2CE-184A-A2F8-26D3A03E8AB9}"/>
              </a:ext>
            </a:extLst>
          </p:cNvPr>
          <p:cNvSpPr/>
          <p:nvPr userDrawn="1"/>
        </p:nvSpPr>
        <p:spPr>
          <a:xfrm>
            <a:off x="1866898" y="-289181"/>
            <a:ext cx="8460906" cy="7874683"/>
          </a:xfrm>
          <a:custGeom>
            <a:avLst/>
            <a:gdLst>
              <a:gd name="connsiteX0" fmla="*/ 1589540 w 2944781"/>
              <a:gd name="connsiteY0" fmla="*/ 2740724 h 2740749"/>
              <a:gd name="connsiteX1" fmla="*/ 212241 w 2944781"/>
              <a:gd name="connsiteY1" fmla="*/ 1874520 h 2740749"/>
              <a:gd name="connsiteX2" fmla="*/ 607724 w 2944781"/>
              <a:gd name="connsiteY2" fmla="*/ 125159 h 2740749"/>
              <a:gd name="connsiteX3" fmla="*/ 1169060 w 2944781"/>
              <a:gd name="connsiteY3" fmla="*/ 0 h 2740749"/>
              <a:gd name="connsiteX4" fmla="*/ 2660224 w 2944781"/>
              <a:gd name="connsiteY4" fmla="*/ 625793 h 2740749"/>
              <a:gd name="connsiteX5" fmla="*/ 2042430 w 2944781"/>
              <a:gd name="connsiteY5" fmla="*/ 2636425 h 2740749"/>
              <a:gd name="connsiteX6" fmla="*/ 1589920 w 2944781"/>
              <a:gd name="connsiteY6" fmla="*/ 2740724 h 274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44781" h="2740749">
                <a:moveTo>
                  <a:pt x="1589540" y="2740724"/>
                </a:moveTo>
                <a:cubicBezTo>
                  <a:pt x="1070118" y="2740724"/>
                  <a:pt x="517241" y="2379345"/>
                  <a:pt x="212241" y="1874520"/>
                </a:cubicBezTo>
                <a:cubicBezTo>
                  <a:pt x="-185428" y="1216819"/>
                  <a:pt x="-7884" y="434340"/>
                  <a:pt x="607724" y="125159"/>
                </a:cubicBezTo>
                <a:cubicBezTo>
                  <a:pt x="779375" y="38767"/>
                  <a:pt x="970891" y="0"/>
                  <a:pt x="1169060" y="0"/>
                </a:cubicBezTo>
                <a:cubicBezTo>
                  <a:pt x="1682304" y="0"/>
                  <a:pt x="2244972" y="258985"/>
                  <a:pt x="2660224" y="625793"/>
                </a:cubicBezTo>
                <a:cubicBezTo>
                  <a:pt x="3344549" y="1230725"/>
                  <a:pt x="2656992" y="2327148"/>
                  <a:pt x="2042430" y="2636425"/>
                </a:cubicBezTo>
                <a:cubicBezTo>
                  <a:pt x="1901794" y="2706136"/>
                  <a:pt x="1746816" y="2741857"/>
                  <a:pt x="1589920" y="2740724"/>
                </a:cubicBezTo>
              </a:path>
            </a:pathLst>
          </a:custGeom>
          <a:solidFill>
            <a:schemeClr val="bg1"/>
          </a:solidFill>
          <a:ln w="9494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>
              <a:solidFill>
                <a:schemeClr val="bg1"/>
              </a:solidFill>
            </a:endParaRPr>
          </a:p>
        </p:txBody>
      </p:sp>
      <p:sp>
        <p:nvSpPr>
          <p:cNvPr id="4" name="Tittel 1">
            <a:extLst>
              <a:ext uri="{FF2B5EF4-FFF2-40B4-BE49-F238E27FC236}">
                <a16:creationId xmlns:a16="http://schemas.microsoft.com/office/drawing/2014/main" id="{4E558730-45CD-434B-9528-65B3BFA17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233" y="1343891"/>
            <a:ext cx="5561534" cy="4405340"/>
          </a:xfr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Friform 4">
            <a:extLst>
              <a:ext uri="{FF2B5EF4-FFF2-40B4-BE49-F238E27FC236}">
                <a16:creationId xmlns:a16="http://schemas.microsoft.com/office/drawing/2014/main" id="{3C310808-932A-F444-B29C-C03766075174}"/>
              </a:ext>
            </a:extLst>
          </p:cNvPr>
          <p:cNvSpPr/>
          <p:nvPr userDrawn="1"/>
        </p:nvSpPr>
        <p:spPr>
          <a:xfrm>
            <a:off x="11071224" y="6354318"/>
            <a:ext cx="771217" cy="152095"/>
          </a:xfrm>
          <a:custGeom>
            <a:avLst/>
            <a:gdLst>
              <a:gd name="connsiteX0" fmla="*/ 199054 w 771217"/>
              <a:gd name="connsiteY0" fmla="*/ 61515 h 152095"/>
              <a:gd name="connsiteX1" fmla="*/ 173594 w 771217"/>
              <a:gd name="connsiteY1" fmla="*/ 97655 h 152095"/>
              <a:gd name="connsiteX2" fmla="*/ 199054 w 771217"/>
              <a:gd name="connsiteY2" fmla="*/ 133795 h 152095"/>
              <a:gd name="connsiteX3" fmla="*/ 224669 w 771217"/>
              <a:gd name="connsiteY3" fmla="*/ 97655 h 152095"/>
              <a:gd name="connsiteX4" fmla="*/ 199054 w 771217"/>
              <a:gd name="connsiteY4" fmla="*/ 61515 h 152095"/>
              <a:gd name="connsiteX5" fmla="*/ 676473 w 771217"/>
              <a:gd name="connsiteY5" fmla="*/ 46290 h 152095"/>
              <a:gd name="connsiteX6" fmla="*/ 709032 w 771217"/>
              <a:gd name="connsiteY6" fmla="*/ 46290 h 152095"/>
              <a:gd name="connsiteX7" fmla="*/ 771217 w 771217"/>
              <a:gd name="connsiteY7" fmla="*/ 103345 h 152095"/>
              <a:gd name="connsiteX8" fmla="*/ 771217 w 771217"/>
              <a:gd name="connsiteY8" fmla="*/ 147327 h 152095"/>
              <a:gd name="connsiteX9" fmla="*/ 769828 w 771217"/>
              <a:gd name="connsiteY9" fmla="*/ 148711 h 152095"/>
              <a:gd name="connsiteX10" fmla="*/ 703477 w 771217"/>
              <a:gd name="connsiteY10" fmla="*/ 148711 h 152095"/>
              <a:gd name="connsiteX11" fmla="*/ 664129 w 771217"/>
              <a:gd name="connsiteY11" fmla="*/ 117185 h 152095"/>
              <a:gd name="connsiteX12" fmla="*/ 705328 w 771217"/>
              <a:gd name="connsiteY12" fmla="*/ 85813 h 152095"/>
              <a:gd name="connsiteX13" fmla="*/ 707952 w 771217"/>
              <a:gd name="connsiteY13" fmla="*/ 85813 h 152095"/>
              <a:gd name="connsiteX14" fmla="*/ 726931 w 771217"/>
              <a:gd name="connsiteY14" fmla="*/ 103498 h 152095"/>
              <a:gd name="connsiteX15" fmla="*/ 726931 w 771217"/>
              <a:gd name="connsiteY15" fmla="*/ 104729 h 152095"/>
              <a:gd name="connsiteX16" fmla="*/ 708415 w 771217"/>
              <a:gd name="connsiteY16" fmla="*/ 104729 h 152095"/>
              <a:gd name="connsiteX17" fmla="*/ 695762 w 771217"/>
              <a:gd name="connsiteY17" fmla="*/ 116716 h 152095"/>
              <a:gd name="connsiteX18" fmla="*/ 695762 w 771217"/>
              <a:gd name="connsiteY18" fmla="*/ 116724 h 152095"/>
              <a:gd name="connsiteX19" fmla="*/ 695762 w 771217"/>
              <a:gd name="connsiteY19" fmla="*/ 117185 h 152095"/>
              <a:gd name="connsiteX20" fmla="*/ 708415 w 771217"/>
              <a:gd name="connsiteY20" fmla="*/ 129796 h 152095"/>
              <a:gd name="connsiteX21" fmla="*/ 740664 w 771217"/>
              <a:gd name="connsiteY21" fmla="*/ 129796 h 152095"/>
              <a:gd name="connsiteX22" fmla="*/ 740664 w 771217"/>
              <a:gd name="connsiteY22" fmla="*/ 99346 h 152095"/>
              <a:gd name="connsiteX23" fmla="*/ 707026 w 771217"/>
              <a:gd name="connsiteY23" fmla="*/ 65821 h 152095"/>
              <a:gd name="connsiteX24" fmla="*/ 696224 w 771217"/>
              <a:gd name="connsiteY24" fmla="*/ 65821 h 152095"/>
              <a:gd name="connsiteX25" fmla="*/ 676475 w 771217"/>
              <a:gd name="connsiteY25" fmla="*/ 46662 h 152095"/>
              <a:gd name="connsiteX26" fmla="*/ 676473 w 771217"/>
              <a:gd name="connsiteY26" fmla="*/ 46598 h 152095"/>
              <a:gd name="connsiteX27" fmla="*/ 476154 w 771217"/>
              <a:gd name="connsiteY27" fmla="*/ 46290 h 152095"/>
              <a:gd name="connsiteX28" fmla="*/ 476185 w 771217"/>
              <a:gd name="connsiteY28" fmla="*/ 46290 h 152095"/>
              <a:gd name="connsiteX29" fmla="*/ 481740 w 771217"/>
              <a:gd name="connsiteY29" fmla="*/ 46290 h 152095"/>
              <a:gd name="connsiteX30" fmla="*/ 482975 w 771217"/>
              <a:gd name="connsiteY30" fmla="*/ 47520 h 152095"/>
              <a:gd name="connsiteX31" fmla="*/ 482975 w 771217"/>
              <a:gd name="connsiteY31" fmla="*/ 107650 h 152095"/>
              <a:gd name="connsiteX32" fmla="*/ 504732 w 771217"/>
              <a:gd name="connsiteY32" fmla="*/ 132256 h 152095"/>
              <a:gd name="connsiteX33" fmla="*/ 526489 w 771217"/>
              <a:gd name="connsiteY33" fmla="*/ 107650 h 152095"/>
              <a:gd name="connsiteX34" fmla="*/ 526489 w 771217"/>
              <a:gd name="connsiteY34" fmla="*/ 69665 h 152095"/>
              <a:gd name="connsiteX35" fmla="*/ 549912 w 771217"/>
              <a:gd name="connsiteY35" fmla="*/ 46290 h 152095"/>
              <a:gd name="connsiteX36" fmla="*/ 549943 w 771217"/>
              <a:gd name="connsiteY36" fmla="*/ 46290 h 152095"/>
              <a:gd name="connsiteX37" fmla="*/ 555498 w 771217"/>
              <a:gd name="connsiteY37" fmla="*/ 46290 h 152095"/>
              <a:gd name="connsiteX38" fmla="*/ 556887 w 771217"/>
              <a:gd name="connsiteY38" fmla="*/ 47366 h 152095"/>
              <a:gd name="connsiteX39" fmla="*/ 556887 w 771217"/>
              <a:gd name="connsiteY39" fmla="*/ 105190 h 152095"/>
              <a:gd name="connsiteX40" fmla="*/ 504886 w 771217"/>
              <a:gd name="connsiteY40" fmla="*/ 152095 h 152095"/>
              <a:gd name="connsiteX41" fmla="*/ 452731 w 771217"/>
              <a:gd name="connsiteY41" fmla="*/ 105344 h 152095"/>
              <a:gd name="connsiteX42" fmla="*/ 452731 w 771217"/>
              <a:gd name="connsiteY42" fmla="*/ 69665 h 152095"/>
              <a:gd name="connsiteX43" fmla="*/ 476154 w 771217"/>
              <a:gd name="connsiteY43" fmla="*/ 46290 h 152095"/>
              <a:gd name="connsiteX44" fmla="*/ 330522 w 771217"/>
              <a:gd name="connsiteY44" fmla="*/ 43829 h 152095"/>
              <a:gd name="connsiteX45" fmla="*/ 353822 w 771217"/>
              <a:gd name="connsiteY45" fmla="*/ 64283 h 152095"/>
              <a:gd name="connsiteX46" fmla="*/ 331139 w 771217"/>
              <a:gd name="connsiteY46" fmla="*/ 64129 h 152095"/>
              <a:gd name="connsiteX47" fmla="*/ 309382 w 771217"/>
              <a:gd name="connsiteY47" fmla="*/ 90580 h 152095"/>
              <a:gd name="connsiteX48" fmla="*/ 309382 w 771217"/>
              <a:gd name="connsiteY48" fmla="*/ 147481 h 152095"/>
              <a:gd name="connsiteX49" fmla="*/ 308179 w 771217"/>
              <a:gd name="connsiteY49" fmla="*/ 148711 h 152095"/>
              <a:gd name="connsiteX50" fmla="*/ 308148 w 771217"/>
              <a:gd name="connsiteY50" fmla="*/ 148711 h 152095"/>
              <a:gd name="connsiteX51" fmla="*/ 301821 w 771217"/>
              <a:gd name="connsiteY51" fmla="*/ 148711 h 152095"/>
              <a:gd name="connsiteX52" fmla="*/ 278367 w 771217"/>
              <a:gd name="connsiteY52" fmla="*/ 125366 h 152095"/>
              <a:gd name="connsiteX53" fmla="*/ 278367 w 771217"/>
              <a:gd name="connsiteY53" fmla="*/ 125336 h 152095"/>
              <a:gd name="connsiteX54" fmla="*/ 278367 w 771217"/>
              <a:gd name="connsiteY54" fmla="*/ 47674 h 152095"/>
              <a:gd name="connsiteX55" fmla="*/ 279601 w 771217"/>
              <a:gd name="connsiteY55" fmla="*/ 46443 h 152095"/>
              <a:gd name="connsiteX56" fmla="*/ 285928 w 771217"/>
              <a:gd name="connsiteY56" fmla="*/ 46443 h 152095"/>
              <a:gd name="connsiteX57" fmla="*/ 304907 w 771217"/>
              <a:gd name="connsiteY57" fmla="*/ 56132 h 152095"/>
              <a:gd name="connsiteX58" fmla="*/ 330522 w 771217"/>
              <a:gd name="connsiteY58" fmla="*/ 43829 h 152095"/>
              <a:gd name="connsiteX59" fmla="*/ 636817 w 771217"/>
              <a:gd name="connsiteY59" fmla="*/ 43676 h 152095"/>
              <a:gd name="connsiteX60" fmla="*/ 661043 w 771217"/>
              <a:gd name="connsiteY60" fmla="*/ 64130 h 152095"/>
              <a:gd name="connsiteX61" fmla="*/ 637434 w 771217"/>
              <a:gd name="connsiteY61" fmla="*/ 64130 h 152095"/>
              <a:gd name="connsiteX62" fmla="*/ 615677 w 771217"/>
              <a:gd name="connsiteY62" fmla="*/ 90581 h 152095"/>
              <a:gd name="connsiteX63" fmla="*/ 615677 w 771217"/>
              <a:gd name="connsiteY63" fmla="*/ 147481 h 152095"/>
              <a:gd name="connsiteX64" fmla="*/ 614473 w 771217"/>
              <a:gd name="connsiteY64" fmla="*/ 148712 h 152095"/>
              <a:gd name="connsiteX65" fmla="*/ 614443 w 771217"/>
              <a:gd name="connsiteY65" fmla="*/ 148712 h 152095"/>
              <a:gd name="connsiteX66" fmla="*/ 608270 w 771217"/>
              <a:gd name="connsiteY66" fmla="*/ 148712 h 152095"/>
              <a:gd name="connsiteX67" fmla="*/ 584816 w 771217"/>
              <a:gd name="connsiteY67" fmla="*/ 125367 h 152095"/>
              <a:gd name="connsiteX68" fmla="*/ 584816 w 771217"/>
              <a:gd name="connsiteY68" fmla="*/ 125336 h 152095"/>
              <a:gd name="connsiteX69" fmla="*/ 584816 w 771217"/>
              <a:gd name="connsiteY69" fmla="*/ 47674 h 152095"/>
              <a:gd name="connsiteX70" fmla="*/ 586050 w 771217"/>
              <a:gd name="connsiteY70" fmla="*/ 46444 h 152095"/>
              <a:gd name="connsiteX71" fmla="*/ 592377 w 771217"/>
              <a:gd name="connsiteY71" fmla="*/ 46444 h 152095"/>
              <a:gd name="connsiteX72" fmla="*/ 611202 w 771217"/>
              <a:gd name="connsiteY72" fmla="*/ 55979 h 152095"/>
              <a:gd name="connsiteX73" fmla="*/ 636817 w 771217"/>
              <a:gd name="connsiteY73" fmla="*/ 43676 h 152095"/>
              <a:gd name="connsiteX74" fmla="*/ 199054 w 771217"/>
              <a:gd name="connsiteY74" fmla="*/ 43061 h 152095"/>
              <a:gd name="connsiteX75" fmla="*/ 257227 w 771217"/>
              <a:gd name="connsiteY75" fmla="*/ 97501 h 152095"/>
              <a:gd name="connsiteX76" fmla="*/ 199054 w 771217"/>
              <a:gd name="connsiteY76" fmla="*/ 151941 h 152095"/>
              <a:gd name="connsiteX77" fmla="*/ 141190 w 771217"/>
              <a:gd name="connsiteY77" fmla="*/ 97655 h 152095"/>
              <a:gd name="connsiteX78" fmla="*/ 199054 w 771217"/>
              <a:gd name="connsiteY78" fmla="*/ 43061 h 152095"/>
              <a:gd name="connsiteX79" fmla="*/ 1203 w 771217"/>
              <a:gd name="connsiteY79" fmla="*/ 14764 h 152095"/>
              <a:gd name="connsiteX80" fmla="*/ 1235 w 771217"/>
              <a:gd name="connsiteY80" fmla="*/ 14764 h 152095"/>
              <a:gd name="connsiteX81" fmla="*/ 42125 w 771217"/>
              <a:gd name="connsiteY81" fmla="*/ 14764 h 152095"/>
              <a:gd name="connsiteX82" fmla="*/ 120667 w 771217"/>
              <a:gd name="connsiteY82" fmla="*/ 93809 h 152095"/>
              <a:gd name="connsiteX83" fmla="*/ 120667 w 771217"/>
              <a:gd name="connsiteY83" fmla="*/ 125336 h 152095"/>
              <a:gd name="connsiteX84" fmla="*/ 97490 w 771217"/>
              <a:gd name="connsiteY84" fmla="*/ 148711 h 152095"/>
              <a:gd name="connsiteX85" fmla="*/ 97367 w 771217"/>
              <a:gd name="connsiteY85" fmla="*/ 148711 h 152095"/>
              <a:gd name="connsiteX86" fmla="*/ 97058 w 771217"/>
              <a:gd name="connsiteY86" fmla="*/ 148711 h 152095"/>
              <a:gd name="connsiteX87" fmla="*/ 89497 w 771217"/>
              <a:gd name="connsiteY87" fmla="*/ 148711 h 152095"/>
              <a:gd name="connsiteX88" fmla="*/ 88263 w 771217"/>
              <a:gd name="connsiteY88" fmla="*/ 147512 h 152095"/>
              <a:gd name="connsiteX89" fmla="*/ 88263 w 771217"/>
              <a:gd name="connsiteY89" fmla="*/ 147481 h 152095"/>
              <a:gd name="connsiteX90" fmla="*/ 88263 w 771217"/>
              <a:gd name="connsiteY90" fmla="*/ 88888 h 152095"/>
              <a:gd name="connsiteX91" fmla="*/ 32250 w 771217"/>
              <a:gd name="connsiteY91" fmla="*/ 34294 h 152095"/>
              <a:gd name="connsiteX92" fmla="*/ 32250 w 771217"/>
              <a:gd name="connsiteY92" fmla="*/ 125182 h 152095"/>
              <a:gd name="connsiteX93" fmla="*/ 8826 w 771217"/>
              <a:gd name="connsiteY93" fmla="*/ 148557 h 152095"/>
              <a:gd name="connsiteX94" fmla="*/ 8795 w 771217"/>
              <a:gd name="connsiteY94" fmla="*/ 148557 h 152095"/>
              <a:gd name="connsiteX95" fmla="*/ 1235 w 771217"/>
              <a:gd name="connsiteY95" fmla="*/ 148557 h 152095"/>
              <a:gd name="connsiteX96" fmla="*/ 0 w 771217"/>
              <a:gd name="connsiteY96" fmla="*/ 147358 h 152095"/>
              <a:gd name="connsiteX97" fmla="*/ 0 w 771217"/>
              <a:gd name="connsiteY97" fmla="*/ 147327 h 152095"/>
              <a:gd name="connsiteX98" fmla="*/ 0 w 771217"/>
              <a:gd name="connsiteY98" fmla="*/ 15994 h 152095"/>
              <a:gd name="connsiteX99" fmla="*/ 1203 w 771217"/>
              <a:gd name="connsiteY99" fmla="*/ 14764 h 152095"/>
              <a:gd name="connsiteX100" fmla="*/ 411347 w 771217"/>
              <a:gd name="connsiteY100" fmla="*/ 0 h 152095"/>
              <a:gd name="connsiteX101" fmla="*/ 411378 w 771217"/>
              <a:gd name="connsiteY101" fmla="*/ 0 h 152095"/>
              <a:gd name="connsiteX102" fmla="*/ 417704 w 771217"/>
              <a:gd name="connsiteY102" fmla="*/ 0 h 152095"/>
              <a:gd name="connsiteX103" fmla="*/ 418939 w 771217"/>
              <a:gd name="connsiteY103" fmla="*/ 1230 h 152095"/>
              <a:gd name="connsiteX104" fmla="*/ 418939 w 771217"/>
              <a:gd name="connsiteY104" fmla="*/ 46290 h 152095"/>
              <a:gd name="connsiteX105" fmla="*/ 442702 w 771217"/>
              <a:gd name="connsiteY105" fmla="*/ 46290 h 152095"/>
              <a:gd name="connsiteX106" fmla="*/ 422796 w 771217"/>
              <a:gd name="connsiteY106" fmla="*/ 64282 h 152095"/>
              <a:gd name="connsiteX107" fmla="*/ 418784 w 771217"/>
              <a:gd name="connsiteY107" fmla="*/ 64282 h 152095"/>
              <a:gd name="connsiteX108" fmla="*/ 418784 w 771217"/>
              <a:gd name="connsiteY108" fmla="*/ 125335 h 152095"/>
              <a:gd name="connsiteX109" fmla="*/ 395361 w 771217"/>
              <a:gd name="connsiteY109" fmla="*/ 148711 h 152095"/>
              <a:gd name="connsiteX110" fmla="*/ 395330 w 771217"/>
              <a:gd name="connsiteY110" fmla="*/ 148711 h 152095"/>
              <a:gd name="connsiteX111" fmla="*/ 389158 w 771217"/>
              <a:gd name="connsiteY111" fmla="*/ 148711 h 152095"/>
              <a:gd name="connsiteX112" fmla="*/ 387923 w 771217"/>
              <a:gd name="connsiteY112" fmla="*/ 147512 h 152095"/>
              <a:gd name="connsiteX113" fmla="*/ 387923 w 771217"/>
              <a:gd name="connsiteY113" fmla="*/ 147481 h 152095"/>
              <a:gd name="connsiteX114" fmla="*/ 387923 w 771217"/>
              <a:gd name="connsiteY114" fmla="*/ 64282 h 152095"/>
              <a:gd name="connsiteX115" fmla="*/ 364006 w 771217"/>
              <a:gd name="connsiteY115" fmla="*/ 64282 h 152095"/>
              <a:gd name="connsiteX116" fmla="*/ 383911 w 771217"/>
              <a:gd name="connsiteY116" fmla="*/ 46443 h 152095"/>
              <a:gd name="connsiteX117" fmla="*/ 387923 w 771217"/>
              <a:gd name="connsiteY117" fmla="*/ 46443 h 152095"/>
              <a:gd name="connsiteX118" fmla="*/ 387923 w 771217"/>
              <a:gd name="connsiteY118" fmla="*/ 23375 h 152095"/>
              <a:gd name="connsiteX119" fmla="*/ 411347 w 771217"/>
              <a:gd name="connsiteY119" fmla="*/ 0 h 152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771217" h="152095">
                <a:moveTo>
                  <a:pt x="199054" y="61515"/>
                </a:moveTo>
                <a:cubicBezTo>
                  <a:pt x="185013" y="61515"/>
                  <a:pt x="173594" y="77663"/>
                  <a:pt x="173594" y="97655"/>
                </a:cubicBezTo>
                <a:cubicBezTo>
                  <a:pt x="173594" y="117647"/>
                  <a:pt x="185013" y="133795"/>
                  <a:pt x="199054" y="133795"/>
                </a:cubicBezTo>
                <a:cubicBezTo>
                  <a:pt x="213096" y="133795"/>
                  <a:pt x="224669" y="117647"/>
                  <a:pt x="224669" y="97655"/>
                </a:cubicBezTo>
                <a:cubicBezTo>
                  <a:pt x="224669" y="77663"/>
                  <a:pt x="213250" y="61515"/>
                  <a:pt x="199054" y="61515"/>
                </a:cubicBezTo>
                <a:close/>
                <a:moveTo>
                  <a:pt x="676473" y="46290"/>
                </a:moveTo>
                <a:lnTo>
                  <a:pt x="709032" y="46290"/>
                </a:lnTo>
                <a:cubicBezTo>
                  <a:pt x="752546" y="46290"/>
                  <a:pt x="771217" y="68128"/>
                  <a:pt x="771217" y="103345"/>
                </a:cubicBezTo>
                <a:lnTo>
                  <a:pt x="771217" y="147327"/>
                </a:lnTo>
                <a:cubicBezTo>
                  <a:pt x="771062" y="148096"/>
                  <a:pt x="770599" y="148711"/>
                  <a:pt x="769828" y="148711"/>
                </a:cubicBezTo>
                <a:lnTo>
                  <a:pt x="703477" y="148711"/>
                </a:lnTo>
                <a:cubicBezTo>
                  <a:pt x="681257" y="148711"/>
                  <a:pt x="664129" y="134563"/>
                  <a:pt x="664129" y="117185"/>
                </a:cubicBezTo>
                <a:cubicBezTo>
                  <a:pt x="664129" y="99807"/>
                  <a:pt x="681565" y="85813"/>
                  <a:pt x="705328" y="85813"/>
                </a:cubicBezTo>
                <a:lnTo>
                  <a:pt x="707952" y="85813"/>
                </a:lnTo>
                <a:cubicBezTo>
                  <a:pt x="718063" y="85552"/>
                  <a:pt x="726513" y="93426"/>
                  <a:pt x="726931" y="103498"/>
                </a:cubicBezTo>
                <a:lnTo>
                  <a:pt x="726931" y="104729"/>
                </a:lnTo>
                <a:lnTo>
                  <a:pt x="708415" y="104729"/>
                </a:lnTo>
                <a:cubicBezTo>
                  <a:pt x="701599" y="104557"/>
                  <a:pt x="695934" y="109924"/>
                  <a:pt x="695762" y="116716"/>
                </a:cubicBezTo>
                <a:cubicBezTo>
                  <a:pt x="695762" y="116719"/>
                  <a:pt x="695762" y="116721"/>
                  <a:pt x="695762" y="116724"/>
                </a:cubicBezTo>
                <a:lnTo>
                  <a:pt x="695762" y="117185"/>
                </a:lnTo>
                <a:cubicBezTo>
                  <a:pt x="695795" y="124136"/>
                  <a:pt x="701440" y="129762"/>
                  <a:pt x="708415" y="129796"/>
                </a:cubicBezTo>
                <a:lnTo>
                  <a:pt x="740664" y="129796"/>
                </a:lnTo>
                <a:lnTo>
                  <a:pt x="740664" y="99346"/>
                </a:lnTo>
                <a:cubicBezTo>
                  <a:pt x="740664" y="78585"/>
                  <a:pt x="729246" y="65821"/>
                  <a:pt x="707026" y="65821"/>
                </a:cubicBezTo>
                <a:lnTo>
                  <a:pt x="696224" y="65821"/>
                </a:lnTo>
                <a:cubicBezTo>
                  <a:pt x="685462" y="65966"/>
                  <a:pt x="676620" y="57388"/>
                  <a:pt x="676475" y="46662"/>
                </a:cubicBezTo>
                <a:cubicBezTo>
                  <a:pt x="676473" y="46640"/>
                  <a:pt x="676473" y="46619"/>
                  <a:pt x="676473" y="46598"/>
                </a:cubicBezTo>
                <a:close/>
                <a:moveTo>
                  <a:pt x="476154" y="46290"/>
                </a:moveTo>
                <a:cubicBezTo>
                  <a:pt x="476165" y="46290"/>
                  <a:pt x="476175" y="46290"/>
                  <a:pt x="476185" y="46290"/>
                </a:cubicBezTo>
                <a:lnTo>
                  <a:pt x="481740" y="46290"/>
                </a:lnTo>
                <a:cubicBezTo>
                  <a:pt x="482402" y="46334"/>
                  <a:pt x="482930" y="46860"/>
                  <a:pt x="482975" y="47520"/>
                </a:cubicBezTo>
                <a:lnTo>
                  <a:pt x="482975" y="107650"/>
                </a:lnTo>
                <a:cubicBezTo>
                  <a:pt x="482975" y="121645"/>
                  <a:pt x="492696" y="132256"/>
                  <a:pt x="504732" y="132256"/>
                </a:cubicBezTo>
                <a:cubicBezTo>
                  <a:pt x="516768" y="132256"/>
                  <a:pt x="526489" y="121491"/>
                  <a:pt x="526489" y="107650"/>
                </a:cubicBezTo>
                <a:lnTo>
                  <a:pt x="526489" y="69665"/>
                </a:lnTo>
                <a:cubicBezTo>
                  <a:pt x="526480" y="56764"/>
                  <a:pt x="536968" y="46298"/>
                  <a:pt x="549912" y="46290"/>
                </a:cubicBezTo>
                <a:cubicBezTo>
                  <a:pt x="549923" y="46290"/>
                  <a:pt x="549932" y="46290"/>
                  <a:pt x="549943" y="46290"/>
                </a:cubicBezTo>
                <a:lnTo>
                  <a:pt x="555498" y="46290"/>
                </a:lnTo>
                <a:cubicBezTo>
                  <a:pt x="556115" y="46136"/>
                  <a:pt x="556733" y="46751"/>
                  <a:pt x="556887" y="47366"/>
                </a:cubicBezTo>
                <a:lnTo>
                  <a:pt x="556887" y="105190"/>
                </a:lnTo>
                <a:cubicBezTo>
                  <a:pt x="557041" y="131795"/>
                  <a:pt x="533741" y="152095"/>
                  <a:pt x="504886" y="152095"/>
                </a:cubicBezTo>
                <a:cubicBezTo>
                  <a:pt x="476031" y="152095"/>
                  <a:pt x="452731" y="131641"/>
                  <a:pt x="452731" y="105344"/>
                </a:cubicBezTo>
                <a:lnTo>
                  <a:pt x="452731" y="69665"/>
                </a:lnTo>
                <a:cubicBezTo>
                  <a:pt x="452722" y="56764"/>
                  <a:pt x="463210" y="46298"/>
                  <a:pt x="476154" y="46290"/>
                </a:cubicBezTo>
                <a:close/>
                <a:moveTo>
                  <a:pt x="330522" y="43829"/>
                </a:moveTo>
                <a:cubicBezTo>
                  <a:pt x="347804" y="43829"/>
                  <a:pt x="353822" y="53210"/>
                  <a:pt x="353822" y="64283"/>
                </a:cubicBezTo>
                <a:lnTo>
                  <a:pt x="331139" y="64129"/>
                </a:lnTo>
                <a:cubicBezTo>
                  <a:pt x="313857" y="64129"/>
                  <a:pt x="309382" y="71664"/>
                  <a:pt x="309382" y="90580"/>
                </a:cubicBezTo>
                <a:lnTo>
                  <a:pt x="309382" y="147481"/>
                </a:lnTo>
                <a:cubicBezTo>
                  <a:pt x="309392" y="148152"/>
                  <a:pt x="308852" y="148702"/>
                  <a:pt x="308179" y="148711"/>
                </a:cubicBezTo>
                <a:cubicBezTo>
                  <a:pt x="308168" y="148711"/>
                  <a:pt x="308159" y="148711"/>
                  <a:pt x="308148" y="148711"/>
                </a:cubicBezTo>
                <a:lnTo>
                  <a:pt x="301821" y="148711"/>
                </a:lnTo>
                <a:cubicBezTo>
                  <a:pt x="288877" y="148719"/>
                  <a:pt x="278376" y="138268"/>
                  <a:pt x="278367" y="125366"/>
                </a:cubicBezTo>
                <a:cubicBezTo>
                  <a:pt x="278367" y="125356"/>
                  <a:pt x="278367" y="125346"/>
                  <a:pt x="278367" y="125336"/>
                </a:cubicBezTo>
                <a:lnTo>
                  <a:pt x="278367" y="47674"/>
                </a:lnTo>
                <a:cubicBezTo>
                  <a:pt x="278412" y="47014"/>
                  <a:pt x="278939" y="46488"/>
                  <a:pt x="279601" y="46443"/>
                </a:cubicBezTo>
                <a:lnTo>
                  <a:pt x="285928" y="46443"/>
                </a:lnTo>
                <a:cubicBezTo>
                  <a:pt x="293455" y="46421"/>
                  <a:pt x="300527" y="50031"/>
                  <a:pt x="304907" y="56132"/>
                </a:cubicBezTo>
                <a:cubicBezTo>
                  <a:pt x="311388" y="47827"/>
                  <a:pt x="316326" y="43829"/>
                  <a:pt x="330522" y="43829"/>
                </a:cubicBezTo>
                <a:close/>
                <a:moveTo>
                  <a:pt x="636817" y="43676"/>
                </a:moveTo>
                <a:cubicBezTo>
                  <a:pt x="654099" y="43676"/>
                  <a:pt x="661043" y="53057"/>
                  <a:pt x="661043" y="64130"/>
                </a:cubicBezTo>
                <a:lnTo>
                  <a:pt x="637434" y="64130"/>
                </a:lnTo>
                <a:cubicBezTo>
                  <a:pt x="620306" y="64130"/>
                  <a:pt x="615677" y="71665"/>
                  <a:pt x="615677" y="90581"/>
                </a:cubicBezTo>
                <a:lnTo>
                  <a:pt x="615677" y="147481"/>
                </a:lnTo>
                <a:cubicBezTo>
                  <a:pt x="615686" y="148152"/>
                  <a:pt x="615146" y="148703"/>
                  <a:pt x="614473" y="148712"/>
                </a:cubicBezTo>
                <a:cubicBezTo>
                  <a:pt x="614463" y="148712"/>
                  <a:pt x="614453" y="148712"/>
                  <a:pt x="614443" y="148712"/>
                </a:cubicBezTo>
                <a:lnTo>
                  <a:pt x="608270" y="148712"/>
                </a:lnTo>
                <a:cubicBezTo>
                  <a:pt x="595326" y="148720"/>
                  <a:pt x="584825" y="138268"/>
                  <a:pt x="584816" y="125367"/>
                </a:cubicBezTo>
                <a:cubicBezTo>
                  <a:pt x="584816" y="125357"/>
                  <a:pt x="584816" y="125347"/>
                  <a:pt x="584816" y="125336"/>
                </a:cubicBezTo>
                <a:lnTo>
                  <a:pt x="584816" y="47674"/>
                </a:lnTo>
                <a:cubicBezTo>
                  <a:pt x="584861" y="47014"/>
                  <a:pt x="585388" y="46489"/>
                  <a:pt x="586050" y="46444"/>
                </a:cubicBezTo>
                <a:lnTo>
                  <a:pt x="592377" y="46444"/>
                </a:lnTo>
                <a:cubicBezTo>
                  <a:pt x="599805" y="46502"/>
                  <a:pt x="606777" y="50033"/>
                  <a:pt x="611202" y="55979"/>
                </a:cubicBezTo>
                <a:cubicBezTo>
                  <a:pt x="617683" y="47674"/>
                  <a:pt x="622621" y="43676"/>
                  <a:pt x="636817" y="43676"/>
                </a:cubicBezTo>
                <a:close/>
                <a:moveTo>
                  <a:pt x="199054" y="43061"/>
                </a:moveTo>
                <a:cubicBezTo>
                  <a:pt x="231613" y="43061"/>
                  <a:pt x="257227" y="67667"/>
                  <a:pt x="257227" y="97501"/>
                </a:cubicBezTo>
                <a:cubicBezTo>
                  <a:pt x="257227" y="127336"/>
                  <a:pt x="231767" y="151941"/>
                  <a:pt x="199054" y="151941"/>
                </a:cubicBezTo>
                <a:cubicBezTo>
                  <a:pt x="166496" y="151941"/>
                  <a:pt x="141190" y="127643"/>
                  <a:pt x="141190" y="97655"/>
                </a:cubicBezTo>
                <a:cubicBezTo>
                  <a:pt x="141190" y="67667"/>
                  <a:pt x="166496" y="43061"/>
                  <a:pt x="199054" y="43061"/>
                </a:cubicBezTo>
                <a:close/>
                <a:moveTo>
                  <a:pt x="1203" y="14764"/>
                </a:moveTo>
                <a:cubicBezTo>
                  <a:pt x="1214" y="14763"/>
                  <a:pt x="1224" y="14763"/>
                  <a:pt x="1235" y="14764"/>
                </a:cubicBezTo>
                <a:lnTo>
                  <a:pt x="42125" y="14764"/>
                </a:lnTo>
                <a:cubicBezTo>
                  <a:pt x="87645" y="14610"/>
                  <a:pt x="120667" y="47674"/>
                  <a:pt x="120667" y="93809"/>
                </a:cubicBezTo>
                <a:lnTo>
                  <a:pt x="120667" y="125336"/>
                </a:lnTo>
                <a:cubicBezTo>
                  <a:pt x="120743" y="138169"/>
                  <a:pt x="110367" y="148634"/>
                  <a:pt x="97490" y="148711"/>
                </a:cubicBezTo>
                <a:cubicBezTo>
                  <a:pt x="97449" y="148711"/>
                  <a:pt x="97408" y="148711"/>
                  <a:pt x="97367" y="148711"/>
                </a:cubicBezTo>
                <a:lnTo>
                  <a:pt x="97058" y="148711"/>
                </a:lnTo>
                <a:lnTo>
                  <a:pt x="89497" y="148711"/>
                </a:lnTo>
                <a:cubicBezTo>
                  <a:pt x="88824" y="148720"/>
                  <a:pt x="88271" y="148183"/>
                  <a:pt x="88263" y="147512"/>
                </a:cubicBezTo>
                <a:cubicBezTo>
                  <a:pt x="88262" y="147501"/>
                  <a:pt x="88262" y="147491"/>
                  <a:pt x="88263" y="147481"/>
                </a:cubicBezTo>
                <a:lnTo>
                  <a:pt x="88263" y="88888"/>
                </a:lnTo>
                <a:cubicBezTo>
                  <a:pt x="88263" y="56901"/>
                  <a:pt x="68666" y="34294"/>
                  <a:pt x="32250" y="34294"/>
                </a:cubicBezTo>
                <a:lnTo>
                  <a:pt x="32250" y="125182"/>
                </a:lnTo>
                <a:cubicBezTo>
                  <a:pt x="32258" y="138083"/>
                  <a:pt x="21771" y="148549"/>
                  <a:pt x="8826" y="148557"/>
                </a:cubicBezTo>
                <a:cubicBezTo>
                  <a:pt x="8816" y="148557"/>
                  <a:pt x="8806" y="148557"/>
                  <a:pt x="8795" y="148557"/>
                </a:cubicBezTo>
                <a:lnTo>
                  <a:pt x="1235" y="148557"/>
                </a:lnTo>
                <a:cubicBezTo>
                  <a:pt x="561" y="148566"/>
                  <a:pt x="9" y="148029"/>
                  <a:pt x="0" y="147358"/>
                </a:cubicBezTo>
                <a:cubicBezTo>
                  <a:pt x="0" y="147348"/>
                  <a:pt x="0" y="147337"/>
                  <a:pt x="0" y="147327"/>
                </a:cubicBezTo>
                <a:lnTo>
                  <a:pt x="0" y="15994"/>
                </a:lnTo>
                <a:cubicBezTo>
                  <a:pt x="-8" y="15323"/>
                  <a:pt x="530" y="14772"/>
                  <a:pt x="1203" y="14764"/>
                </a:cubicBezTo>
                <a:close/>
                <a:moveTo>
                  <a:pt x="411347" y="0"/>
                </a:moveTo>
                <a:cubicBezTo>
                  <a:pt x="411358" y="0"/>
                  <a:pt x="411367" y="0"/>
                  <a:pt x="411378" y="0"/>
                </a:cubicBezTo>
                <a:lnTo>
                  <a:pt x="417704" y="0"/>
                </a:lnTo>
                <a:cubicBezTo>
                  <a:pt x="418366" y="45"/>
                  <a:pt x="418894" y="570"/>
                  <a:pt x="418939" y="1230"/>
                </a:cubicBezTo>
                <a:lnTo>
                  <a:pt x="418939" y="46290"/>
                </a:lnTo>
                <a:lnTo>
                  <a:pt x="442702" y="46290"/>
                </a:lnTo>
                <a:cubicBezTo>
                  <a:pt x="442702" y="57362"/>
                  <a:pt x="433752" y="64282"/>
                  <a:pt x="422796" y="64282"/>
                </a:cubicBezTo>
                <a:lnTo>
                  <a:pt x="418784" y="64282"/>
                </a:lnTo>
                <a:lnTo>
                  <a:pt x="418784" y="125335"/>
                </a:lnTo>
                <a:cubicBezTo>
                  <a:pt x="418794" y="138237"/>
                  <a:pt x="408305" y="148702"/>
                  <a:pt x="395361" y="148711"/>
                </a:cubicBezTo>
                <a:cubicBezTo>
                  <a:pt x="395350" y="148711"/>
                  <a:pt x="395341" y="148711"/>
                  <a:pt x="395330" y="148711"/>
                </a:cubicBezTo>
                <a:lnTo>
                  <a:pt x="389158" y="148711"/>
                </a:lnTo>
                <a:cubicBezTo>
                  <a:pt x="388485" y="148720"/>
                  <a:pt x="387933" y="148183"/>
                  <a:pt x="387923" y="147512"/>
                </a:cubicBezTo>
                <a:cubicBezTo>
                  <a:pt x="387923" y="147501"/>
                  <a:pt x="387923" y="147491"/>
                  <a:pt x="387923" y="147481"/>
                </a:cubicBezTo>
                <a:lnTo>
                  <a:pt x="387923" y="64282"/>
                </a:lnTo>
                <a:lnTo>
                  <a:pt x="364006" y="64282"/>
                </a:lnTo>
                <a:cubicBezTo>
                  <a:pt x="364006" y="53364"/>
                  <a:pt x="372801" y="46443"/>
                  <a:pt x="383911" y="46443"/>
                </a:cubicBezTo>
                <a:lnTo>
                  <a:pt x="387923" y="46443"/>
                </a:lnTo>
                <a:lnTo>
                  <a:pt x="387923" y="23375"/>
                </a:lnTo>
                <a:cubicBezTo>
                  <a:pt x="387914" y="10474"/>
                  <a:pt x="398402" y="9"/>
                  <a:pt x="411347" y="0"/>
                </a:cubicBezTo>
                <a:close/>
              </a:path>
            </a:pathLst>
          </a:custGeom>
          <a:solidFill>
            <a:schemeClr val="bg1"/>
          </a:solidFill>
          <a:ln w="1543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7090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decel="50000" autoRev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800000">
                                      <p:cBhvr>
                                        <p:cTn id="6" dur="3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: Title placeholder + content placeholder 7">
    <p:bg>
      <p:bgPr>
        <a:solidFill>
          <a:schemeClr val="bg2">
            <a:lumMod val="20000"/>
            <a:lumOff val="80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fikk 1026">
            <a:extLst>
              <a:ext uri="{FF2B5EF4-FFF2-40B4-BE49-F238E27FC236}">
                <a16:creationId xmlns:a16="http://schemas.microsoft.com/office/drawing/2014/main" id="{3B19106B-8A75-C776-5632-E2BF6BA63DF5}"/>
              </a:ext>
            </a:extLst>
          </p:cNvPr>
          <p:cNvSpPr/>
          <p:nvPr userDrawn="1"/>
        </p:nvSpPr>
        <p:spPr>
          <a:xfrm>
            <a:off x="8653405" y="-75810"/>
            <a:ext cx="6748478" cy="6280887"/>
          </a:xfrm>
          <a:custGeom>
            <a:avLst/>
            <a:gdLst>
              <a:gd name="connsiteX0" fmla="*/ 1589540 w 2944781"/>
              <a:gd name="connsiteY0" fmla="*/ 2740724 h 2740749"/>
              <a:gd name="connsiteX1" fmla="*/ 212241 w 2944781"/>
              <a:gd name="connsiteY1" fmla="*/ 1874520 h 2740749"/>
              <a:gd name="connsiteX2" fmla="*/ 607724 w 2944781"/>
              <a:gd name="connsiteY2" fmla="*/ 125159 h 2740749"/>
              <a:gd name="connsiteX3" fmla="*/ 1169060 w 2944781"/>
              <a:gd name="connsiteY3" fmla="*/ 0 h 2740749"/>
              <a:gd name="connsiteX4" fmla="*/ 2660224 w 2944781"/>
              <a:gd name="connsiteY4" fmla="*/ 625793 h 2740749"/>
              <a:gd name="connsiteX5" fmla="*/ 2042430 w 2944781"/>
              <a:gd name="connsiteY5" fmla="*/ 2636425 h 2740749"/>
              <a:gd name="connsiteX6" fmla="*/ 1589920 w 2944781"/>
              <a:gd name="connsiteY6" fmla="*/ 2740724 h 274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44781" h="2740749">
                <a:moveTo>
                  <a:pt x="1589540" y="2740724"/>
                </a:moveTo>
                <a:cubicBezTo>
                  <a:pt x="1070118" y="2740724"/>
                  <a:pt x="517241" y="2379345"/>
                  <a:pt x="212241" y="1874520"/>
                </a:cubicBezTo>
                <a:cubicBezTo>
                  <a:pt x="-185428" y="1216819"/>
                  <a:pt x="-7884" y="434340"/>
                  <a:pt x="607724" y="125159"/>
                </a:cubicBezTo>
                <a:cubicBezTo>
                  <a:pt x="779375" y="38767"/>
                  <a:pt x="970891" y="0"/>
                  <a:pt x="1169060" y="0"/>
                </a:cubicBezTo>
                <a:cubicBezTo>
                  <a:pt x="1682304" y="0"/>
                  <a:pt x="2244972" y="258985"/>
                  <a:pt x="2660224" y="625793"/>
                </a:cubicBezTo>
                <a:cubicBezTo>
                  <a:pt x="3344549" y="1230725"/>
                  <a:pt x="2656992" y="2327148"/>
                  <a:pt x="2042430" y="2636425"/>
                </a:cubicBezTo>
                <a:cubicBezTo>
                  <a:pt x="1901794" y="2706136"/>
                  <a:pt x="1746816" y="2741857"/>
                  <a:pt x="1589920" y="2740724"/>
                </a:cubicBezTo>
              </a:path>
            </a:pathLst>
          </a:custGeom>
          <a:solidFill>
            <a:schemeClr val="bg2">
              <a:alpha val="47039"/>
            </a:schemeClr>
          </a:solidFill>
          <a:ln w="9494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3EC99B-F833-554E-AECC-1E7B953C41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275" y="829056"/>
            <a:ext cx="6748478" cy="142097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nb-NO"/>
              <a:t>Agenda</a:t>
            </a:r>
          </a:p>
        </p:txBody>
      </p:sp>
      <p:sp>
        <p:nvSpPr>
          <p:cNvPr id="3" name="Grafikk 1026">
            <a:extLst>
              <a:ext uri="{FF2B5EF4-FFF2-40B4-BE49-F238E27FC236}">
                <a16:creationId xmlns:a16="http://schemas.microsoft.com/office/drawing/2014/main" id="{983FBA55-D39B-4741-9527-CB379E5001AB}"/>
              </a:ext>
            </a:extLst>
          </p:cNvPr>
          <p:cNvSpPr/>
          <p:nvPr userDrawn="1"/>
        </p:nvSpPr>
        <p:spPr>
          <a:xfrm>
            <a:off x="7551753" y="-954153"/>
            <a:ext cx="5178627" cy="4819808"/>
          </a:xfrm>
          <a:custGeom>
            <a:avLst/>
            <a:gdLst>
              <a:gd name="connsiteX0" fmla="*/ 1589540 w 2944781"/>
              <a:gd name="connsiteY0" fmla="*/ 2740724 h 2740749"/>
              <a:gd name="connsiteX1" fmla="*/ 212241 w 2944781"/>
              <a:gd name="connsiteY1" fmla="*/ 1874520 h 2740749"/>
              <a:gd name="connsiteX2" fmla="*/ 607724 w 2944781"/>
              <a:gd name="connsiteY2" fmla="*/ 125159 h 2740749"/>
              <a:gd name="connsiteX3" fmla="*/ 1169060 w 2944781"/>
              <a:gd name="connsiteY3" fmla="*/ 0 h 2740749"/>
              <a:gd name="connsiteX4" fmla="*/ 2660224 w 2944781"/>
              <a:gd name="connsiteY4" fmla="*/ 625793 h 2740749"/>
              <a:gd name="connsiteX5" fmla="*/ 2042430 w 2944781"/>
              <a:gd name="connsiteY5" fmla="*/ 2636425 h 2740749"/>
              <a:gd name="connsiteX6" fmla="*/ 1589920 w 2944781"/>
              <a:gd name="connsiteY6" fmla="*/ 2740724 h 274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44781" h="2740749">
                <a:moveTo>
                  <a:pt x="1589540" y="2740724"/>
                </a:moveTo>
                <a:cubicBezTo>
                  <a:pt x="1070118" y="2740724"/>
                  <a:pt x="517241" y="2379345"/>
                  <a:pt x="212241" y="1874520"/>
                </a:cubicBezTo>
                <a:cubicBezTo>
                  <a:pt x="-185428" y="1216819"/>
                  <a:pt x="-7884" y="434340"/>
                  <a:pt x="607724" y="125159"/>
                </a:cubicBezTo>
                <a:cubicBezTo>
                  <a:pt x="779375" y="38767"/>
                  <a:pt x="970891" y="0"/>
                  <a:pt x="1169060" y="0"/>
                </a:cubicBezTo>
                <a:cubicBezTo>
                  <a:pt x="1682304" y="0"/>
                  <a:pt x="2244972" y="258985"/>
                  <a:pt x="2660224" y="625793"/>
                </a:cubicBezTo>
                <a:cubicBezTo>
                  <a:pt x="3344549" y="1230725"/>
                  <a:pt x="2656992" y="2327148"/>
                  <a:pt x="2042430" y="2636425"/>
                </a:cubicBezTo>
                <a:cubicBezTo>
                  <a:pt x="1901794" y="2706136"/>
                  <a:pt x="1746816" y="2741857"/>
                  <a:pt x="1589920" y="2740724"/>
                </a:cubicBezTo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9494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DAECDFB9-DCA5-3B43-BAF3-D598A36C86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3276" y="2695115"/>
            <a:ext cx="6748478" cy="35099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33308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decel="50000" autoRev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800000">
                                      <p:cBhvr>
                                        <p:cTn id="6" dur="3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decel="50000" autoRev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Rot by="1800000">
                                      <p:cBhvr>
                                        <p:cTn id="8" dur="3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28FC161-816B-65EE-7552-509B5EB861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" t="15717" r="-12"/>
          <a:stretch/>
        </p:blipFill>
        <p:spPr>
          <a:xfrm>
            <a:off x="-11875" y="0"/>
            <a:ext cx="12205334" cy="6858000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E1AA005C-32A6-B74E-9B62-2D57828587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4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5334" cy="6918960"/>
          </a:xfrm>
          <a:prstGeom prst="rect">
            <a:avLst/>
          </a:prstGeom>
        </p:spPr>
      </p:pic>
      <p:grpSp>
        <p:nvGrpSpPr>
          <p:cNvPr id="4" name="Gruppe 3">
            <a:extLst>
              <a:ext uri="{FF2B5EF4-FFF2-40B4-BE49-F238E27FC236}">
                <a16:creationId xmlns:a16="http://schemas.microsoft.com/office/drawing/2014/main" id="{23806877-49B6-B14F-8887-9324DF1BD479}"/>
              </a:ext>
            </a:extLst>
          </p:cNvPr>
          <p:cNvGrpSpPr/>
          <p:nvPr userDrawn="1"/>
        </p:nvGrpSpPr>
        <p:grpSpPr>
          <a:xfrm>
            <a:off x="1" y="4756778"/>
            <a:ext cx="4344269" cy="2578243"/>
            <a:chOff x="1" y="4756778"/>
            <a:chExt cx="4344269" cy="2578243"/>
          </a:xfrm>
        </p:grpSpPr>
        <p:sp>
          <p:nvSpPr>
            <p:cNvPr id="1035" name="Friform 1034">
              <a:extLst>
                <a:ext uri="{FF2B5EF4-FFF2-40B4-BE49-F238E27FC236}">
                  <a16:creationId xmlns:a16="http://schemas.microsoft.com/office/drawing/2014/main" id="{601C99DD-7E4E-354A-9B67-78D84A6D0426}"/>
                </a:ext>
              </a:extLst>
            </p:cNvPr>
            <p:cNvSpPr/>
            <p:nvPr userDrawn="1"/>
          </p:nvSpPr>
          <p:spPr>
            <a:xfrm>
              <a:off x="1" y="4993574"/>
              <a:ext cx="4344269" cy="1864426"/>
            </a:xfrm>
            <a:custGeom>
              <a:avLst/>
              <a:gdLst>
                <a:gd name="connsiteX0" fmla="*/ 1534229 w 4344269"/>
                <a:gd name="connsiteY0" fmla="*/ 0 h 1864426"/>
                <a:gd name="connsiteX1" fmla="*/ 3900832 w 4344269"/>
                <a:gd name="connsiteY1" fmla="*/ 993186 h 1864426"/>
                <a:gd name="connsiteX2" fmla="*/ 4342982 w 4344269"/>
                <a:gd name="connsiteY2" fmla="*/ 1827795 h 1864426"/>
                <a:gd name="connsiteX3" fmla="*/ 4344269 w 4344269"/>
                <a:gd name="connsiteY3" fmla="*/ 1864426 h 1864426"/>
                <a:gd name="connsiteX4" fmla="*/ 0 w 4344269"/>
                <a:gd name="connsiteY4" fmla="*/ 1864426 h 1864426"/>
                <a:gd name="connsiteX5" fmla="*/ 0 w 4344269"/>
                <a:gd name="connsiteY5" fmla="*/ 757992 h 1864426"/>
                <a:gd name="connsiteX6" fmla="*/ 44335 w 4344269"/>
                <a:gd name="connsiteY6" fmla="*/ 692672 h 1864426"/>
                <a:gd name="connsiteX7" fmla="*/ 643341 w 4344269"/>
                <a:gd name="connsiteY7" fmla="*/ 198637 h 1864426"/>
                <a:gd name="connsiteX8" fmla="*/ 1534229 w 4344269"/>
                <a:gd name="connsiteY8" fmla="*/ 0 h 1864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44269" h="1864426">
                  <a:moveTo>
                    <a:pt x="1534229" y="0"/>
                  </a:moveTo>
                  <a:cubicBezTo>
                    <a:pt x="2348791" y="0"/>
                    <a:pt x="3241791" y="411031"/>
                    <a:pt x="3900832" y="993186"/>
                  </a:cubicBezTo>
                  <a:cubicBezTo>
                    <a:pt x="4172353" y="1233206"/>
                    <a:pt x="4307792" y="1521978"/>
                    <a:pt x="4342982" y="1827795"/>
                  </a:cubicBezTo>
                  <a:lnTo>
                    <a:pt x="4344269" y="1864426"/>
                  </a:lnTo>
                  <a:lnTo>
                    <a:pt x="0" y="1864426"/>
                  </a:lnTo>
                  <a:lnTo>
                    <a:pt x="0" y="757992"/>
                  </a:lnTo>
                  <a:lnTo>
                    <a:pt x="44335" y="692672"/>
                  </a:lnTo>
                  <a:cubicBezTo>
                    <a:pt x="198283" y="490934"/>
                    <a:pt x="399086" y="321312"/>
                    <a:pt x="643341" y="198637"/>
                  </a:cubicBezTo>
                  <a:cubicBezTo>
                    <a:pt x="915766" y="61526"/>
                    <a:pt x="1219718" y="0"/>
                    <a:pt x="1534229" y="0"/>
                  </a:cubicBezTo>
                  <a:close/>
                </a:path>
              </a:pathLst>
            </a:custGeom>
            <a:solidFill>
              <a:srgbClr val="FFFFFF"/>
            </a:solidFill>
            <a:ln w="150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pic>
          <p:nvPicPr>
            <p:cNvPr id="8" name="Grafikk 7">
              <a:extLst>
                <a:ext uri="{FF2B5EF4-FFF2-40B4-BE49-F238E27FC236}">
                  <a16:creationId xmlns:a16="http://schemas.microsoft.com/office/drawing/2014/main" id="{E65FCD45-CF88-5F47-B1D6-842A2D00E8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41707" y="4756778"/>
              <a:ext cx="2745993" cy="2578243"/>
            </a:xfrm>
            <a:prstGeom prst="rect">
              <a:avLst/>
            </a:prstGeom>
          </p:spPr>
        </p:pic>
      </p:grpSp>
      <p:sp>
        <p:nvSpPr>
          <p:cNvPr id="11" name="Tittel 1">
            <a:extLst>
              <a:ext uri="{FF2B5EF4-FFF2-40B4-BE49-F238E27FC236}">
                <a16:creationId xmlns:a16="http://schemas.microsoft.com/office/drawing/2014/main" id="{66E543C8-816A-DE4C-B012-DDE484F89B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0" y="874712"/>
            <a:ext cx="5575300" cy="2387600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598DA538-F2DE-E544-8B72-E2752CCE00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0" y="3322637"/>
            <a:ext cx="5575300" cy="7629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D255C96C-01CA-5A41-BBA9-FD2316FC98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68400" y="4145862"/>
            <a:ext cx="4254500" cy="263526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b-NO" dirty="0"/>
              <a:t>Sikkerhetsmarkering</a:t>
            </a:r>
          </a:p>
        </p:txBody>
      </p:sp>
    </p:spTree>
    <p:extLst>
      <p:ext uri="{BB962C8B-B14F-4D97-AF65-F5344CB8AC3E}">
        <p14:creationId xmlns:p14="http://schemas.microsoft.com/office/powerpoint/2010/main" val="369291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710">
          <p15:clr>
            <a:srgbClr val="FBAE40"/>
          </p15:clr>
        </p15:guide>
        <p15:guide id="2" orient="horz" pos="232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203B791-064D-C047-BF4F-2EADD3250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6" y="1073914"/>
            <a:ext cx="10548348" cy="1032601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5" name="Plassholder for tekst 14">
            <a:extLst>
              <a:ext uri="{FF2B5EF4-FFF2-40B4-BE49-F238E27FC236}">
                <a16:creationId xmlns:a16="http://schemas.microsoft.com/office/drawing/2014/main" id="{2649C28C-3886-5047-A380-5FAEC6CCCB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9040" y="3190399"/>
            <a:ext cx="2240823" cy="2077386"/>
          </a:xfrm>
          <a:custGeom>
            <a:avLst/>
            <a:gdLst>
              <a:gd name="connsiteX0" fmla="*/ 1171481 w 2951028"/>
              <a:gd name="connsiteY0" fmla="*/ 0 h 2735791"/>
              <a:gd name="connsiteX1" fmla="*/ 2665858 w 2951028"/>
              <a:gd name="connsiteY1" fmla="*/ 624554 h 2735791"/>
              <a:gd name="connsiteX2" fmla="*/ 2046733 w 2951028"/>
              <a:gd name="connsiteY2" fmla="*/ 2631204 h 2735791"/>
              <a:gd name="connsiteX3" fmla="*/ 1593248 w 2951028"/>
              <a:gd name="connsiteY3" fmla="*/ 2735772 h 2735791"/>
              <a:gd name="connsiteX4" fmla="*/ 212980 w 2951028"/>
              <a:gd name="connsiteY4" fmla="*/ 1871284 h 2735791"/>
              <a:gd name="connsiteX5" fmla="*/ 608934 w 2951028"/>
              <a:gd name="connsiteY5" fmla="*/ 124911 h 2735791"/>
              <a:gd name="connsiteX6" fmla="*/ 1171481 w 2951028"/>
              <a:gd name="connsiteY6" fmla="*/ 0 h 273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1028" h="2735791">
                <a:moveTo>
                  <a:pt x="1171481" y="0"/>
                </a:moveTo>
                <a:cubicBezTo>
                  <a:pt x="1685831" y="0"/>
                  <a:pt x="2249711" y="258472"/>
                  <a:pt x="2665858" y="624554"/>
                </a:cubicBezTo>
                <a:cubicBezTo>
                  <a:pt x="3351658" y="1228289"/>
                  <a:pt x="2662620" y="2322540"/>
                  <a:pt x="2046733" y="2631204"/>
                </a:cubicBezTo>
                <a:cubicBezTo>
                  <a:pt x="1905833" y="2700942"/>
                  <a:pt x="1750519" y="2736755"/>
                  <a:pt x="1593248" y="2735772"/>
                </a:cubicBezTo>
                <a:cubicBezTo>
                  <a:pt x="1072707" y="2735772"/>
                  <a:pt x="518637" y="2375109"/>
                  <a:pt x="212980" y="1871284"/>
                </a:cubicBezTo>
                <a:cubicBezTo>
                  <a:pt x="-185927" y="1214410"/>
                  <a:pt x="-8000" y="433480"/>
                  <a:pt x="608934" y="124911"/>
                </a:cubicBezTo>
                <a:cubicBezTo>
                  <a:pt x="780956" y="38690"/>
                  <a:pt x="972885" y="0"/>
                  <a:pt x="117148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rIns="144000" anchor="ctr">
            <a:normAutofit/>
          </a:bodyPr>
          <a:lstStyle>
            <a:lvl1pPr algn="ctr">
              <a:buNone/>
              <a:defRPr sz="1800" b="1">
                <a:solidFill>
                  <a:schemeClr val="bg1"/>
                </a:solidFill>
              </a:defRPr>
            </a:lvl1pPr>
            <a:lvl2pPr algn="ctr">
              <a:buNone/>
              <a:defRPr>
                <a:solidFill>
                  <a:schemeClr val="bg1"/>
                </a:solidFill>
              </a:defRPr>
            </a:lvl2pPr>
            <a:lvl3pPr algn="ctr">
              <a:buNone/>
              <a:defRPr>
                <a:solidFill>
                  <a:schemeClr val="bg1"/>
                </a:solidFill>
              </a:defRPr>
            </a:lvl3pPr>
            <a:lvl4pPr algn="ctr">
              <a:buNone/>
              <a:defRPr>
                <a:solidFill>
                  <a:schemeClr val="bg1"/>
                </a:solidFill>
              </a:defRPr>
            </a:lvl4pPr>
            <a:lvl5pPr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705FCD08-A40E-A940-A7E1-B9D419A8DA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3406" y="3190399"/>
            <a:ext cx="2240823" cy="2077386"/>
          </a:xfrm>
          <a:custGeom>
            <a:avLst/>
            <a:gdLst>
              <a:gd name="connsiteX0" fmla="*/ 1171481 w 2951028"/>
              <a:gd name="connsiteY0" fmla="*/ 0 h 2735791"/>
              <a:gd name="connsiteX1" fmla="*/ 2665858 w 2951028"/>
              <a:gd name="connsiteY1" fmla="*/ 624554 h 2735791"/>
              <a:gd name="connsiteX2" fmla="*/ 2046733 w 2951028"/>
              <a:gd name="connsiteY2" fmla="*/ 2631204 h 2735791"/>
              <a:gd name="connsiteX3" fmla="*/ 1593248 w 2951028"/>
              <a:gd name="connsiteY3" fmla="*/ 2735772 h 2735791"/>
              <a:gd name="connsiteX4" fmla="*/ 212980 w 2951028"/>
              <a:gd name="connsiteY4" fmla="*/ 1871284 h 2735791"/>
              <a:gd name="connsiteX5" fmla="*/ 608934 w 2951028"/>
              <a:gd name="connsiteY5" fmla="*/ 124911 h 2735791"/>
              <a:gd name="connsiteX6" fmla="*/ 1171481 w 2951028"/>
              <a:gd name="connsiteY6" fmla="*/ 0 h 273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1028" h="2735791">
                <a:moveTo>
                  <a:pt x="1171481" y="0"/>
                </a:moveTo>
                <a:cubicBezTo>
                  <a:pt x="1685831" y="0"/>
                  <a:pt x="2249711" y="258472"/>
                  <a:pt x="2665858" y="624554"/>
                </a:cubicBezTo>
                <a:cubicBezTo>
                  <a:pt x="3351658" y="1228289"/>
                  <a:pt x="2662620" y="2322540"/>
                  <a:pt x="2046733" y="2631204"/>
                </a:cubicBezTo>
                <a:cubicBezTo>
                  <a:pt x="1905833" y="2700942"/>
                  <a:pt x="1750519" y="2736755"/>
                  <a:pt x="1593248" y="2735772"/>
                </a:cubicBezTo>
                <a:cubicBezTo>
                  <a:pt x="1072707" y="2735772"/>
                  <a:pt x="518637" y="2375109"/>
                  <a:pt x="212980" y="1871284"/>
                </a:cubicBezTo>
                <a:cubicBezTo>
                  <a:pt x="-185927" y="1214410"/>
                  <a:pt x="-8000" y="433480"/>
                  <a:pt x="608934" y="124911"/>
                </a:cubicBezTo>
                <a:cubicBezTo>
                  <a:pt x="780956" y="38690"/>
                  <a:pt x="972885" y="0"/>
                  <a:pt x="1171481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lIns="144000" rIns="144000" anchor="ctr">
            <a:normAutofit/>
          </a:bodyPr>
          <a:lstStyle>
            <a:lvl1pPr algn="ctr">
              <a:buNone/>
              <a:defRPr sz="1800" b="1">
                <a:solidFill>
                  <a:schemeClr val="bg1"/>
                </a:solidFill>
              </a:defRPr>
            </a:lvl1pPr>
            <a:lvl2pPr algn="ctr">
              <a:buNone/>
              <a:defRPr>
                <a:solidFill>
                  <a:schemeClr val="bg1"/>
                </a:solidFill>
              </a:defRPr>
            </a:lvl2pPr>
            <a:lvl3pPr algn="ctr">
              <a:buNone/>
              <a:defRPr>
                <a:solidFill>
                  <a:schemeClr val="bg1"/>
                </a:solidFill>
              </a:defRPr>
            </a:lvl3pPr>
            <a:lvl4pPr algn="ctr">
              <a:buNone/>
              <a:defRPr>
                <a:solidFill>
                  <a:schemeClr val="bg1"/>
                </a:solidFill>
              </a:defRPr>
            </a:lvl4pPr>
            <a:lvl5pPr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16">
            <a:extLst>
              <a:ext uri="{FF2B5EF4-FFF2-40B4-BE49-F238E27FC236}">
                <a16:creationId xmlns:a16="http://schemas.microsoft.com/office/drawing/2014/main" id="{555A9DC4-0324-0848-B070-B35D824FEA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77772" y="3190399"/>
            <a:ext cx="2240823" cy="2077386"/>
          </a:xfrm>
          <a:custGeom>
            <a:avLst/>
            <a:gdLst>
              <a:gd name="connsiteX0" fmla="*/ 1171481 w 2951028"/>
              <a:gd name="connsiteY0" fmla="*/ 0 h 2735791"/>
              <a:gd name="connsiteX1" fmla="*/ 2665858 w 2951028"/>
              <a:gd name="connsiteY1" fmla="*/ 624554 h 2735791"/>
              <a:gd name="connsiteX2" fmla="*/ 2046733 w 2951028"/>
              <a:gd name="connsiteY2" fmla="*/ 2631204 h 2735791"/>
              <a:gd name="connsiteX3" fmla="*/ 1593248 w 2951028"/>
              <a:gd name="connsiteY3" fmla="*/ 2735772 h 2735791"/>
              <a:gd name="connsiteX4" fmla="*/ 212980 w 2951028"/>
              <a:gd name="connsiteY4" fmla="*/ 1871284 h 2735791"/>
              <a:gd name="connsiteX5" fmla="*/ 608934 w 2951028"/>
              <a:gd name="connsiteY5" fmla="*/ 124911 h 2735791"/>
              <a:gd name="connsiteX6" fmla="*/ 1171481 w 2951028"/>
              <a:gd name="connsiteY6" fmla="*/ 0 h 273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1028" h="2735791">
                <a:moveTo>
                  <a:pt x="1171481" y="0"/>
                </a:moveTo>
                <a:cubicBezTo>
                  <a:pt x="1685831" y="0"/>
                  <a:pt x="2249711" y="258472"/>
                  <a:pt x="2665858" y="624554"/>
                </a:cubicBezTo>
                <a:cubicBezTo>
                  <a:pt x="3351658" y="1228289"/>
                  <a:pt x="2662620" y="2322540"/>
                  <a:pt x="2046733" y="2631204"/>
                </a:cubicBezTo>
                <a:cubicBezTo>
                  <a:pt x="1905833" y="2700942"/>
                  <a:pt x="1750519" y="2736755"/>
                  <a:pt x="1593248" y="2735772"/>
                </a:cubicBezTo>
                <a:cubicBezTo>
                  <a:pt x="1072707" y="2735772"/>
                  <a:pt x="518637" y="2375109"/>
                  <a:pt x="212980" y="1871284"/>
                </a:cubicBezTo>
                <a:cubicBezTo>
                  <a:pt x="-185927" y="1214410"/>
                  <a:pt x="-8000" y="433480"/>
                  <a:pt x="608934" y="124911"/>
                </a:cubicBezTo>
                <a:cubicBezTo>
                  <a:pt x="780956" y="38690"/>
                  <a:pt x="972885" y="0"/>
                  <a:pt x="1171481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lIns="144000" rIns="144000" anchor="ctr">
            <a:normAutofit/>
          </a:bodyPr>
          <a:lstStyle>
            <a:lvl1pPr algn="ctr">
              <a:buNone/>
              <a:defRPr sz="1800" b="1">
                <a:solidFill>
                  <a:schemeClr val="bg1"/>
                </a:solidFill>
              </a:defRPr>
            </a:lvl1pPr>
            <a:lvl2pPr algn="ctr">
              <a:buNone/>
              <a:defRPr>
                <a:solidFill>
                  <a:schemeClr val="bg1"/>
                </a:solidFill>
              </a:defRPr>
            </a:lvl2pPr>
            <a:lvl3pPr algn="ctr">
              <a:buNone/>
              <a:defRPr>
                <a:solidFill>
                  <a:schemeClr val="bg1"/>
                </a:solidFill>
              </a:defRPr>
            </a:lvl3pPr>
            <a:lvl4pPr algn="ctr">
              <a:buNone/>
              <a:defRPr>
                <a:solidFill>
                  <a:schemeClr val="bg1"/>
                </a:solidFill>
              </a:defRPr>
            </a:lvl4pPr>
            <a:lvl5pPr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tekst 17">
            <a:extLst>
              <a:ext uri="{FF2B5EF4-FFF2-40B4-BE49-F238E27FC236}">
                <a16:creationId xmlns:a16="http://schemas.microsoft.com/office/drawing/2014/main" id="{B4BDCF1D-4F08-CC4B-ABD6-BF4845EFDE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82137" y="3190399"/>
            <a:ext cx="2240823" cy="2077386"/>
          </a:xfrm>
          <a:custGeom>
            <a:avLst/>
            <a:gdLst>
              <a:gd name="connsiteX0" fmla="*/ 1171481 w 2951028"/>
              <a:gd name="connsiteY0" fmla="*/ 0 h 2735791"/>
              <a:gd name="connsiteX1" fmla="*/ 2665858 w 2951028"/>
              <a:gd name="connsiteY1" fmla="*/ 624554 h 2735791"/>
              <a:gd name="connsiteX2" fmla="*/ 2046733 w 2951028"/>
              <a:gd name="connsiteY2" fmla="*/ 2631204 h 2735791"/>
              <a:gd name="connsiteX3" fmla="*/ 1593248 w 2951028"/>
              <a:gd name="connsiteY3" fmla="*/ 2735772 h 2735791"/>
              <a:gd name="connsiteX4" fmla="*/ 212980 w 2951028"/>
              <a:gd name="connsiteY4" fmla="*/ 1871284 h 2735791"/>
              <a:gd name="connsiteX5" fmla="*/ 608934 w 2951028"/>
              <a:gd name="connsiteY5" fmla="*/ 124911 h 2735791"/>
              <a:gd name="connsiteX6" fmla="*/ 1171481 w 2951028"/>
              <a:gd name="connsiteY6" fmla="*/ 0 h 273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1028" h="2735791">
                <a:moveTo>
                  <a:pt x="1171481" y="0"/>
                </a:moveTo>
                <a:cubicBezTo>
                  <a:pt x="1685831" y="0"/>
                  <a:pt x="2249711" y="258472"/>
                  <a:pt x="2665858" y="624554"/>
                </a:cubicBezTo>
                <a:cubicBezTo>
                  <a:pt x="3351658" y="1228289"/>
                  <a:pt x="2662620" y="2322540"/>
                  <a:pt x="2046733" y="2631204"/>
                </a:cubicBezTo>
                <a:cubicBezTo>
                  <a:pt x="1905833" y="2700942"/>
                  <a:pt x="1750519" y="2736755"/>
                  <a:pt x="1593248" y="2735772"/>
                </a:cubicBezTo>
                <a:cubicBezTo>
                  <a:pt x="1072707" y="2735772"/>
                  <a:pt x="518637" y="2375109"/>
                  <a:pt x="212980" y="1871284"/>
                </a:cubicBezTo>
                <a:cubicBezTo>
                  <a:pt x="-185927" y="1214410"/>
                  <a:pt x="-8000" y="433480"/>
                  <a:pt x="608934" y="124911"/>
                </a:cubicBezTo>
                <a:cubicBezTo>
                  <a:pt x="780956" y="38690"/>
                  <a:pt x="972885" y="0"/>
                  <a:pt x="1171481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 lIns="144000" rIns="144000" anchor="ctr">
            <a:normAutofit/>
          </a:bodyPr>
          <a:lstStyle>
            <a:lvl1pPr algn="ctr">
              <a:buNone/>
              <a:defRPr sz="1800" b="1">
                <a:solidFill>
                  <a:schemeClr val="bg1"/>
                </a:solidFill>
              </a:defRPr>
            </a:lvl1pPr>
            <a:lvl2pPr algn="ctr">
              <a:buNone/>
              <a:defRPr>
                <a:solidFill>
                  <a:schemeClr val="bg1"/>
                </a:solidFill>
              </a:defRPr>
            </a:lvl2pPr>
            <a:lvl3pPr algn="ctr">
              <a:buNone/>
              <a:defRPr>
                <a:solidFill>
                  <a:schemeClr val="bg1"/>
                </a:solidFill>
              </a:defRPr>
            </a:lvl3pPr>
            <a:lvl4pPr algn="ctr">
              <a:buNone/>
              <a:defRPr>
                <a:solidFill>
                  <a:schemeClr val="bg1"/>
                </a:solidFill>
              </a:defRPr>
            </a:lvl4pPr>
            <a:lvl5pPr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3982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5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5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5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animBg="1">
        <p:tmplLst>
          <p:tmpl>
            <p:tnLst>
              <p:par>
                <p:cTn presetID="2" presetClass="entr" presetSubtype="4" decel="5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0" animBg="1">
        <p:tmplLst>
          <p:tmpl>
            <p:tnLst>
              <p:par>
                <p:cTn presetID="2" presetClass="entr" presetSubtype="4" decel="5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animBg="1">
        <p:tmplLst>
          <p:tmpl>
            <p:tnLst>
              <p:par>
                <p:cTn presetID="2" presetClass="entr" presetSubtype="4" decel="5000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D64D17E-11A0-A94A-B308-7ED30665F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5738" y="4313237"/>
            <a:ext cx="9460523" cy="1325563"/>
          </a:xfr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F6DCDF1F-0C6F-3248-96D3-F3C5852AC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58918" y="1614414"/>
            <a:ext cx="2119466" cy="1964880"/>
          </a:xfrm>
          <a:custGeom>
            <a:avLst/>
            <a:gdLst>
              <a:gd name="connsiteX0" fmla="*/ 1171481 w 2951028"/>
              <a:gd name="connsiteY0" fmla="*/ 0 h 2735791"/>
              <a:gd name="connsiteX1" fmla="*/ 2665858 w 2951028"/>
              <a:gd name="connsiteY1" fmla="*/ 624554 h 2735791"/>
              <a:gd name="connsiteX2" fmla="*/ 2046733 w 2951028"/>
              <a:gd name="connsiteY2" fmla="*/ 2631204 h 2735791"/>
              <a:gd name="connsiteX3" fmla="*/ 1593248 w 2951028"/>
              <a:gd name="connsiteY3" fmla="*/ 2735772 h 2735791"/>
              <a:gd name="connsiteX4" fmla="*/ 212980 w 2951028"/>
              <a:gd name="connsiteY4" fmla="*/ 1871284 h 2735791"/>
              <a:gd name="connsiteX5" fmla="*/ 608934 w 2951028"/>
              <a:gd name="connsiteY5" fmla="*/ 124911 h 2735791"/>
              <a:gd name="connsiteX6" fmla="*/ 1171481 w 2951028"/>
              <a:gd name="connsiteY6" fmla="*/ 0 h 273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1028" h="2735791">
                <a:moveTo>
                  <a:pt x="1171481" y="0"/>
                </a:moveTo>
                <a:cubicBezTo>
                  <a:pt x="1685831" y="0"/>
                  <a:pt x="2249711" y="258472"/>
                  <a:pt x="2665858" y="624554"/>
                </a:cubicBezTo>
                <a:cubicBezTo>
                  <a:pt x="3351658" y="1228289"/>
                  <a:pt x="2662620" y="2322540"/>
                  <a:pt x="2046733" y="2631204"/>
                </a:cubicBezTo>
                <a:cubicBezTo>
                  <a:pt x="1905833" y="2700942"/>
                  <a:pt x="1750519" y="2736755"/>
                  <a:pt x="1593248" y="2735772"/>
                </a:cubicBezTo>
                <a:cubicBezTo>
                  <a:pt x="1072707" y="2735772"/>
                  <a:pt x="518637" y="2375109"/>
                  <a:pt x="212980" y="1871284"/>
                </a:cubicBezTo>
                <a:cubicBezTo>
                  <a:pt x="-185927" y="1214410"/>
                  <a:pt x="-8000" y="433480"/>
                  <a:pt x="608934" y="124911"/>
                </a:cubicBezTo>
                <a:cubicBezTo>
                  <a:pt x="780956" y="38690"/>
                  <a:pt x="972885" y="0"/>
                  <a:pt x="117148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CE33425D-36A7-7345-B157-3DF396FE69D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20119" y="1614414"/>
            <a:ext cx="2119466" cy="1964880"/>
          </a:xfrm>
          <a:custGeom>
            <a:avLst/>
            <a:gdLst>
              <a:gd name="connsiteX0" fmla="*/ 1171481 w 2951028"/>
              <a:gd name="connsiteY0" fmla="*/ 0 h 2735791"/>
              <a:gd name="connsiteX1" fmla="*/ 2665858 w 2951028"/>
              <a:gd name="connsiteY1" fmla="*/ 624554 h 2735791"/>
              <a:gd name="connsiteX2" fmla="*/ 2046733 w 2951028"/>
              <a:gd name="connsiteY2" fmla="*/ 2631204 h 2735791"/>
              <a:gd name="connsiteX3" fmla="*/ 1593248 w 2951028"/>
              <a:gd name="connsiteY3" fmla="*/ 2735772 h 2735791"/>
              <a:gd name="connsiteX4" fmla="*/ 212980 w 2951028"/>
              <a:gd name="connsiteY4" fmla="*/ 1871284 h 2735791"/>
              <a:gd name="connsiteX5" fmla="*/ 608934 w 2951028"/>
              <a:gd name="connsiteY5" fmla="*/ 124911 h 2735791"/>
              <a:gd name="connsiteX6" fmla="*/ 1171481 w 2951028"/>
              <a:gd name="connsiteY6" fmla="*/ 0 h 273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1028" h="2735791">
                <a:moveTo>
                  <a:pt x="1171481" y="0"/>
                </a:moveTo>
                <a:cubicBezTo>
                  <a:pt x="1685831" y="0"/>
                  <a:pt x="2249711" y="258472"/>
                  <a:pt x="2665858" y="624554"/>
                </a:cubicBezTo>
                <a:cubicBezTo>
                  <a:pt x="3351658" y="1228289"/>
                  <a:pt x="2662620" y="2322540"/>
                  <a:pt x="2046733" y="2631204"/>
                </a:cubicBezTo>
                <a:cubicBezTo>
                  <a:pt x="1905833" y="2700942"/>
                  <a:pt x="1750519" y="2736755"/>
                  <a:pt x="1593248" y="2735772"/>
                </a:cubicBezTo>
                <a:cubicBezTo>
                  <a:pt x="1072707" y="2735772"/>
                  <a:pt x="518637" y="2375109"/>
                  <a:pt x="212980" y="1871284"/>
                </a:cubicBezTo>
                <a:cubicBezTo>
                  <a:pt x="-185927" y="1214410"/>
                  <a:pt x="-8000" y="433480"/>
                  <a:pt x="608934" y="124911"/>
                </a:cubicBezTo>
                <a:cubicBezTo>
                  <a:pt x="780956" y="38690"/>
                  <a:pt x="972885" y="0"/>
                  <a:pt x="117148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2EBB4591-75EC-7C40-BAC8-2B7A8B9F186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81320" y="1614414"/>
            <a:ext cx="2119466" cy="1964880"/>
          </a:xfrm>
          <a:custGeom>
            <a:avLst/>
            <a:gdLst>
              <a:gd name="connsiteX0" fmla="*/ 1171481 w 2951028"/>
              <a:gd name="connsiteY0" fmla="*/ 0 h 2735791"/>
              <a:gd name="connsiteX1" fmla="*/ 2665858 w 2951028"/>
              <a:gd name="connsiteY1" fmla="*/ 624554 h 2735791"/>
              <a:gd name="connsiteX2" fmla="*/ 2046733 w 2951028"/>
              <a:gd name="connsiteY2" fmla="*/ 2631204 h 2735791"/>
              <a:gd name="connsiteX3" fmla="*/ 1593248 w 2951028"/>
              <a:gd name="connsiteY3" fmla="*/ 2735772 h 2735791"/>
              <a:gd name="connsiteX4" fmla="*/ 212980 w 2951028"/>
              <a:gd name="connsiteY4" fmla="*/ 1871284 h 2735791"/>
              <a:gd name="connsiteX5" fmla="*/ 608934 w 2951028"/>
              <a:gd name="connsiteY5" fmla="*/ 124911 h 2735791"/>
              <a:gd name="connsiteX6" fmla="*/ 1171481 w 2951028"/>
              <a:gd name="connsiteY6" fmla="*/ 0 h 273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1028" h="2735791">
                <a:moveTo>
                  <a:pt x="1171481" y="0"/>
                </a:moveTo>
                <a:cubicBezTo>
                  <a:pt x="1685831" y="0"/>
                  <a:pt x="2249711" y="258472"/>
                  <a:pt x="2665858" y="624554"/>
                </a:cubicBezTo>
                <a:cubicBezTo>
                  <a:pt x="3351658" y="1228289"/>
                  <a:pt x="2662620" y="2322540"/>
                  <a:pt x="2046733" y="2631204"/>
                </a:cubicBezTo>
                <a:cubicBezTo>
                  <a:pt x="1905833" y="2700942"/>
                  <a:pt x="1750519" y="2736755"/>
                  <a:pt x="1593248" y="2735772"/>
                </a:cubicBezTo>
                <a:cubicBezTo>
                  <a:pt x="1072707" y="2735772"/>
                  <a:pt x="518637" y="2375109"/>
                  <a:pt x="212980" y="1871284"/>
                </a:cubicBezTo>
                <a:cubicBezTo>
                  <a:pt x="-185927" y="1214410"/>
                  <a:pt x="-8000" y="433480"/>
                  <a:pt x="608934" y="124911"/>
                </a:cubicBezTo>
                <a:cubicBezTo>
                  <a:pt x="780956" y="38690"/>
                  <a:pt x="972885" y="0"/>
                  <a:pt x="117148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9C6B9FD9-B859-DC4E-8B1D-8C3C67378A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42520" y="1614414"/>
            <a:ext cx="2119466" cy="1964880"/>
          </a:xfrm>
          <a:custGeom>
            <a:avLst/>
            <a:gdLst>
              <a:gd name="connsiteX0" fmla="*/ 1171481 w 2951028"/>
              <a:gd name="connsiteY0" fmla="*/ 0 h 2735791"/>
              <a:gd name="connsiteX1" fmla="*/ 2665858 w 2951028"/>
              <a:gd name="connsiteY1" fmla="*/ 624554 h 2735791"/>
              <a:gd name="connsiteX2" fmla="*/ 2046733 w 2951028"/>
              <a:gd name="connsiteY2" fmla="*/ 2631204 h 2735791"/>
              <a:gd name="connsiteX3" fmla="*/ 1593248 w 2951028"/>
              <a:gd name="connsiteY3" fmla="*/ 2735772 h 2735791"/>
              <a:gd name="connsiteX4" fmla="*/ 212980 w 2951028"/>
              <a:gd name="connsiteY4" fmla="*/ 1871284 h 2735791"/>
              <a:gd name="connsiteX5" fmla="*/ 608934 w 2951028"/>
              <a:gd name="connsiteY5" fmla="*/ 124911 h 2735791"/>
              <a:gd name="connsiteX6" fmla="*/ 1171481 w 2951028"/>
              <a:gd name="connsiteY6" fmla="*/ 0 h 273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1028" h="2735791">
                <a:moveTo>
                  <a:pt x="1171481" y="0"/>
                </a:moveTo>
                <a:cubicBezTo>
                  <a:pt x="1685831" y="0"/>
                  <a:pt x="2249711" y="258472"/>
                  <a:pt x="2665858" y="624554"/>
                </a:cubicBezTo>
                <a:cubicBezTo>
                  <a:pt x="3351658" y="1228289"/>
                  <a:pt x="2662620" y="2322540"/>
                  <a:pt x="2046733" y="2631204"/>
                </a:cubicBezTo>
                <a:cubicBezTo>
                  <a:pt x="1905833" y="2700942"/>
                  <a:pt x="1750519" y="2736755"/>
                  <a:pt x="1593248" y="2735772"/>
                </a:cubicBezTo>
                <a:cubicBezTo>
                  <a:pt x="1072707" y="2735772"/>
                  <a:pt x="518637" y="2375109"/>
                  <a:pt x="212980" y="1871284"/>
                </a:cubicBezTo>
                <a:cubicBezTo>
                  <a:pt x="-185927" y="1214410"/>
                  <a:pt x="-8000" y="433480"/>
                  <a:pt x="608934" y="124911"/>
                </a:cubicBezTo>
                <a:cubicBezTo>
                  <a:pt x="780956" y="38690"/>
                  <a:pt x="972885" y="0"/>
                  <a:pt x="117148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994480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5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5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image placeholder +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D64D17E-11A0-A94A-B308-7ED30665F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5738" y="414337"/>
            <a:ext cx="9460523" cy="1084263"/>
          </a:xfr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F6DCDF1F-0C6F-3248-96D3-F3C5852AC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58918" y="1677914"/>
            <a:ext cx="2119466" cy="1964880"/>
          </a:xfrm>
          <a:custGeom>
            <a:avLst/>
            <a:gdLst>
              <a:gd name="connsiteX0" fmla="*/ 1171481 w 2951028"/>
              <a:gd name="connsiteY0" fmla="*/ 0 h 2735791"/>
              <a:gd name="connsiteX1" fmla="*/ 2665858 w 2951028"/>
              <a:gd name="connsiteY1" fmla="*/ 624554 h 2735791"/>
              <a:gd name="connsiteX2" fmla="*/ 2046733 w 2951028"/>
              <a:gd name="connsiteY2" fmla="*/ 2631204 h 2735791"/>
              <a:gd name="connsiteX3" fmla="*/ 1593248 w 2951028"/>
              <a:gd name="connsiteY3" fmla="*/ 2735772 h 2735791"/>
              <a:gd name="connsiteX4" fmla="*/ 212980 w 2951028"/>
              <a:gd name="connsiteY4" fmla="*/ 1871284 h 2735791"/>
              <a:gd name="connsiteX5" fmla="*/ 608934 w 2951028"/>
              <a:gd name="connsiteY5" fmla="*/ 124911 h 2735791"/>
              <a:gd name="connsiteX6" fmla="*/ 1171481 w 2951028"/>
              <a:gd name="connsiteY6" fmla="*/ 0 h 273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1028" h="2735791">
                <a:moveTo>
                  <a:pt x="1171481" y="0"/>
                </a:moveTo>
                <a:cubicBezTo>
                  <a:pt x="1685831" y="0"/>
                  <a:pt x="2249711" y="258472"/>
                  <a:pt x="2665858" y="624554"/>
                </a:cubicBezTo>
                <a:cubicBezTo>
                  <a:pt x="3351658" y="1228289"/>
                  <a:pt x="2662620" y="2322540"/>
                  <a:pt x="2046733" y="2631204"/>
                </a:cubicBezTo>
                <a:cubicBezTo>
                  <a:pt x="1905833" y="2700942"/>
                  <a:pt x="1750519" y="2736755"/>
                  <a:pt x="1593248" y="2735772"/>
                </a:cubicBezTo>
                <a:cubicBezTo>
                  <a:pt x="1072707" y="2735772"/>
                  <a:pt x="518637" y="2375109"/>
                  <a:pt x="212980" y="1871284"/>
                </a:cubicBezTo>
                <a:cubicBezTo>
                  <a:pt x="-185927" y="1214410"/>
                  <a:pt x="-8000" y="433480"/>
                  <a:pt x="608934" y="124911"/>
                </a:cubicBezTo>
                <a:cubicBezTo>
                  <a:pt x="780956" y="38690"/>
                  <a:pt x="972885" y="0"/>
                  <a:pt x="117148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CE33425D-36A7-7345-B157-3DF396FE69D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20119" y="1677914"/>
            <a:ext cx="2119466" cy="1964880"/>
          </a:xfrm>
          <a:custGeom>
            <a:avLst/>
            <a:gdLst>
              <a:gd name="connsiteX0" fmla="*/ 1171481 w 2951028"/>
              <a:gd name="connsiteY0" fmla="*/ 0 h 2735791"/>
              <a:gd name="connsiteX1" fmla="*/ 2665858 w 2951028"/>
              <a:gd name="connsiteY1" fmla="*/ 624554 h 2735791"/>
              <a:gd name="connsiteX2" fmla="*/ 2046733 w 2951028"/>
              <a:gd name="connsiteY2" fmla="*/ 2631204 h 2735791"/>
              <a:gd name="connsiteX3" fmla="*/ 1593248 w 2951028"/>
              <a:gd name="connsiteY3" fmla="*/ 2735772 h 2735791"/>
              <a:gd name="connsiteX4" fmla="*/ 212980 w 2951028"/>
              <a:gd name="connsiteY4" fmla="*/ 1871284 h 2735791"/>
              <a:gd name="connsiteX5" fmla="*/ 608934 w 2951028"/>
              <a:gd name="connsiteY5" fmla="*/ 124911 h 2735791"/>
              <a:gd name="connsiteX6" fmla="*/ 1171481 w 2951028"/>
              <a:gd name="connsiteY6" fmla="*/ 0 h 273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1028" h="2735791">
                <a:moveTo>
                  <a:pt x="1171481" y="0"/>
                </a:moveTo>
                <a:cubicBezTo>
                  <a:pt x="1685831" y="0"/>
                  <a:pt x="2249711" y="258472"/>
                  <a:pt x="2665858" y="624554"/>
                </a:cubicBezTo>
                <a:cubicBezTo>
                  <a:pt x="3351658" y="1228289"/>
                  <a:pt x="2662620" y="2322540"/>
                  <a:pt x="2046733" y="2631204"/>
                </a:cubicBezTo>
                <a:cubicBezTo>
                  <a:pt x="1905833" y="2700942"/>
                  <a:pt x="1750519" y="2736755"/>
                  <a:pt x="1593248" y="2735772"/>
                </a:cubicBezTo>
                <a:cubicBezTo>
                  <a:pt x="1072707" y="2735772"/>
                  <a:pt x="518637" y="2375109"/>
                  <a:pt x="212980" y="1871284"/>
                </a:cubicBezTo>
                <a:cubicBezTo>
                  <a:pt x="-185927" y="1214410"/>
                  <a:pt x="-8000" y="433480"/>
                  <a:pt x="608934" y="124911"/>
                </a:cubicBezTo>
                <a:cubicBezTo>
                  <a:pt x="780956" y="38690"/>
                  <a:pt x="972885" y="0"/>
                  <a:pt x="117148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2EBB4591-75EC-7C40-BAC8-2B7A8B9F186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81320" y="1677914"/>
            <a:ext cx="2119466" cy="1964880"/>
          </a:xfrm>
          <a:custGeom>
            <a:avLst/>
            <a:gdLst>
              <a:gd name="connsiteX0" fmla="*/ 1171481 w 2951028"/>
              <a:gd name="connsiteY0" fmla="*/ 0 h 2735791"/>
              <a:gd name="connsiteX1" fmla="*/ 2665858 w 2951028"/>
              <a:gd name="connsiteY1" fmla="*/ 624554 h 2735791"/>
              <a:gd name="connsiteX2" fmla="*/ 2046733 w 2951028"/>
              <a:gd name="connsiteY2" fmla="*/ 2631204 h 2735791"/>
              <a:gd name="connsiteX3" fmla="*/ 1593248 w 2951028"/>
              <a:gd name="connsiteY3" fmla="*/ 2735772 h 2735791"/>
              <a:gd name="connsiteX4" fmla="*/ 212980 w 2951028"/>
              <a:gd name="connsiteY4" fmla="*/ 1871284 h 2735791"/>
              <a:gd name="connsiteX5" fmla="*/ 608934 w 2951028"/>
              <a:gd name="connsiteY5" fmla="*/ 124911 h 2735791"/>
              <a:gd name="connsiteX6" fmla="*/ 1171481 w 2951028"/>
              <a:gd name="connsiteY6" fmla="*/ 0 h 273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1028" h="2735791">
                <a:moveTo>
                  <a:pt x="1171481" y="0"/>
                </a:moveTo>
                <a:cubicBezTo>
                  <a:pt x="1685831" y="0"/>
                  <a:pt x="2249711" y="258472"/>
                  <a:pt x="2665858" y="624554"/>
                </a:cubicBezTo>
                <a:cubicBezTo>
                  <a:pt x="3351658" y="1228289"/>
                  <a:pt x="2662620" y="2322540"/>
                  <a:pt x="2046733" y="2631204"/>
                </a:cubicBezTo>
                <a:cubicBezTo>
                  <a:pt x="1905833" y="2700942"/>
                  <a:pt x="1750519" y="2736755"/>
                  <a:pt x="1593248" y="2735772"/>
                </a:cubicBezTo>
                <a:cubicBezTo>
                  <a:pt x="1072707" y="2735772"/>
                  <a:pt x="518637" y="2375109"/>
                  <a:pt x="212980" y="1871284"/>
                </a:cubicBezTo>
                <a:cubicBezTo>
                  <a:pt x="-185927" y="1214410"/>
                  <a:pt x="-8000" y="433480"/>
                  <a:pt x="608934" y="124911"/>
                </a:cubicBezTo>
                <a:cubicBezTo>
                  <a:pt x="780956" y="38690"/>
                  <a:pt x="972885" y="0"/>
                  <a:pt x="117148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9C6B9FD9-B859-DC4E-8B1D-8C3C67378A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42520" y="1677914"/>
            <a:ext cx="2119466" cy="1964880"/>
          </a:xfrm>
          <a:custGeom>
            <a:avLst/>
            <a:gdLst>
              <a:gd name="connsiteX0" fmla="*/ 1171481 w 2951028"/>
              <a:gd name="connsiteY0" fmla="*/ 0 h 2735791"/>
              <a:gd name="connsiteX1" fmla="*/ 2665858 w 2951028"/>
              <a:gd name="connsiteY1" fmla="*/ 624554 h 2735791"/>
              <a:gd name="connsiteX2" fmla="*/ 2046733 w 2951028"/>
              <a:gd name="connsiteY2" fmla="*/ 2631204 h 2735791"/>
              <a:gd name="connsiteX3" fmla="*/ 1593248 w 2951028"/>
              <a:gd name="connsiteY3" fmla="*/ 2735772 h 2735791"/>
              <a:gd name="connsiteX4" fmla="*/ 212980 w 2951028"/>
              <a:gd name="connsiteY4" fmla="*/ 1871284 h 2735791"/>
              <a:gd name="connsiteX5" fmla="*/ 608934 w 2951028"/>
              <a:gd name="connsiteY5" fmla="*/ 124911 h 2735791"/>
              <a:gd name="connsiteX6" fmla="*/ 1171481 w 2951028"/>
              <a:gd name="connsiteY6" fmla="*/ 0 h 273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1028" h="2735791">
                <a:moveTo>
                  <a:pt x="1171481" y="0"/>
                </a:moveTo>
                <a:cubicBezTo>
                  <a:pt x="1685831" y="0"/>
                  <a:pt x="2249711" y="258472"/>
                  <a:pt x="2665858" y="624554"/>
                </a:cubicBezTo>
                <a:cubicBezTo>
                  <a:pt x="3351658" y="1228289"/>
                  <a:pt x="2662620" y="2322540"/>
                  <a:pt x="2046733" y="2631204"/>
                </a:cubicBezTo>
                <a:cubicBezTo>
                  <a:pt x="1905833" y="2700942"/>
                  <a:pt x="1750519" y="2736755"/>
                  <a:pt x="1593248" y="2735772"/>
                </a:cubicBezTo>
                <a:cubicBezTo>
                  <a:pt x="1072707" y="2735772"/>
                  <a:pt x="518637" y="2375109"/>
                  <a:pt x="212980" y="1871284"/>
                </a:cubicBezTo>
                <a:cubicBezTo>
                  <a:pt x="-185927" y="1214410"/>
                  <a:pt x="-8000" y="433480"/>
                  <a:pt x="608934" y="124911"/>
                </a:cubicBezTo>
                <a:cubicBezTo>
                  <a:pt x="780956" y="38690"/>
                  <a:pt x="972885" y="0"/>
                  <a:pt x="117148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448F54E4-1E70-A14A-8259-77DF03F4D5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4251" y="4087886"/>
            <a:ext cx="1828800" cy="2311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Plassholder for tekst 3">
            <a:extLst>
              <a:ext uri="{FF2B5EF4-FFF2-40B4-BE49-F238E27FC236}">
                <a16:creationId xmlns:a16="http://schemas.microsoft.com/office/drawing/2014/main" id="{93A9F248-A326-A84C-A6DB-F9D0508FFA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09351" y="4087886"/>
            <a:ext cx="1828800" cy="2311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3">
            <a:extLst>
              <a:ext uri="{FF2B5EF4-FFF2-40B4-BE49-F238E27FC236}">
                <a16:creationId xmlns:a16="http://schemas.microsoft.com/office/drawing/2014/main" id="{1C5D4D48-3ABD-AA48-9A84-DBA887BDD4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14451" y="4087886"/>
            <a:ext cx="1828800" cy="2311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Plassholder for tekst 3">
            <a:extLst>
              <a:ext uri="{FF2B5EF4-FFF2-40B4-BE49-F238E27FC236}">
                <a16:creationId xmlns:a16="http://schemas.microsoft.com/office/drawing/2014/main" id="{F0D239FD-FB41-7C49-B59E-65D18CB6EE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87853" y="4087886"/>
            <a:ext cx="1828800" cy="2311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5182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04D7218B-97E6-2349-8BC8-2346484E3F3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270278 w 12192000"/>
              <a:gd name="connsiteY0" fmla="*/ 6415833 h 6858000"/>
              <a:gd name="connsiteX1" fmla="*/ 11295893 w 12192000"/>
              <a:gd name="connsiteY1" fmla="*/ 6451973 h 6858000"/>
              <a:gd name="connsiteX2" fmla="*/ 11270278 w 12192000"/>
              <a:gd name="connsiteY2" fmla="*/ 6488113 h 6858000"/>
              <a:gd name="connsiteX3" fmla="*/ 11244818 w 12192000"/>
              <a:gd name="connsiteY3" fmla="*/ 6451973 h 6858000"/>
              <a:gd name="connsiteX4" fmla="*/ 11270278 w 12192000"/>
              <a:gd name="connsiteY4" fmla="*/ 6415833 h 6858000"/>
              <a:gd name="connsiteX5" fmla="*/ 11747697 w 12192000"/>
              <a:gd name="connsiteY5" fmla="*/ 6400608 h 6858000"/>
              <a:gd name="connsiteX6" fmla="*/ 11747697 w 12192000"/>
              <a:gd name="connsiteY6" fmla="*/ 6400916 h 6858000"/>
              <a:gd name="connsiteX7" fmla="*/ 11747699 w 12192000"/>
              <a:gd name="connsiteY7" fmla="*/ 6400980 h 6858000"/>
              <a:gd name="connsiteX8" fmla="*/ 11767448 w 12192000"/>
              <a:gd name="connsiteY8" fmla="*/ 6420139 h 6858000"/>
              <a:gd name="connsiteX9" fmla="*/ 11778250 w 12192000"/>
              <a:gd name="connsiteY9" fmla="*/ 6420139 h 6858000"/>
              <a:gd name="connsiteX10" fmla="*/ 11811888 w 12192000"/>
              <a:gd name="connsiteY10" fmla="*/ 6453664 h 6858000"/>
              <a:gd name="connsiteX11" fmla="*/ 11811888 w 12192000"/>
              <a:gd name="connsiteY11" fmla="*/ 6484114 h 6858000"/>
              <a:gd name="connsiteX12" fmla="*/ 11779639 w 12192000"/>
              <a:gd name="connsiteY12" fmla="*/ 6484114 h 6858000"/>
              <a:gd name="connsiteX13" fmla="*/ 11766986 w 12192000"/>
              <a:gd name="connsiteY13" fmla="*/ 6471503 h 6858000"/>
              <a:gd name="connsiteX14" fmla="*/ 11766986 w 12192000"/>
              <a:gd name="connsiteY14" fmla="*/ 6471042 h 6858000"/>
              <a:gd name="connsiteX15" fmla="*/ 11766986 w 12192000"/>
              <a:gd name="connsiteY15" fmla="*/ 6471034 h 6858000"/>
              <a:gd name="connsiteX16" fmla="*/ 11779639 w 12192000"/>
              <a:gd name="connsiteY16" fmla="*/ 6459047 h 6858000"/>
              <a:gd name="connsiteX17" fmla="*/ 11798155 w 12192000"/>
              <a:gd name="connsiteY17" fmla="*/ 6459047 h 6858000"/>
              <a:gd name="connsiteX18" fmla="*/ 11798155 w 12192000"/>
              <a:gd name="connsiteY18" fmla="*/ 6457816 h 6858000"/>
              <a:gd name="connsiteX19" fmla="*/ 11779176 w 12192000"/>
              <a:gd name="connsiteY19" fmla="*/ 6440131 h 6858000"/>
              <a:gd name="connsiteX20" fmla="*/ 11776552 w 12192000"/>
              <a:gd name="connsiteY20" fmla="*/ 6440131 h 6858000"/>
              <a:gd name="connsiteX21" fmla="*/ 11735353 w 12192000"/>
              <a:gd name="connsiteY21" fmla="*/ 6471503 h 6858000"/>
              <a:gd name="connsiteX22" fmla="*/ 11774701 w 12192000"/>
              <a:gd name="connsiteY22" fmla="*/ 6503029 h 6858000"/>
              <a:gd name="connsiteX23" fmla="*/ 11841052 w 12192000"/>
              <a:gd name="connsiteY23" fmla="*/ 6503029 h 6858000"/>
              <a:gd name="connsiteX24" fmla="*/ 11842441 w 12192000"/>
              <a:gd name="connsiteY24" fmla="*/ 6501645 h 6858000"/>
              <a:gd name="connsiteX25" fmla="*/ 11842441 w 12192000"/>
              <a:gd name="connsiteY25" fmla="*/ 6457663 h 6858000"/>
              <a:gd name="connsiteX26" fmla="*/ 11780256 w 12192000"/>
              <a:gd name="connsiteY26" fmla="*/ 6400608 h 6858000"/>
              <a:gd name="connsiteX27" fmla="*/ 11547378 w 12192000"/>
              <a:gd name="connsiteY27" fmla="*/ 6400608 h 6858000"/>
              <a:gd name="connsiteX28" fmla="*/ 11523955 w 12192000"/>
              <a:gd name="connsiteY28" fmla="*/ 6423983 h 6858000"/>
              <a:gd name="connsiteX29" fmla="*/ 11523955 w 12192000"/>
              <a:gd name="connsiteY29" fmla="*/ 6459662 h 6858000"/>
              <a:gd name="connsiteX30" fmla="*/ 11576110 w 12192000"/>
              <a:gd name="connsiteY30" fmla="*/ 6506413 h 6858000"/>
              <a:gd name="connsiteX31" fmla="*/ 11628111 w 12192000"/>
              <a:gd name="connsiteY31" fmla="*/ 6459508 h 6858000"/>
              <a:gd name="connsiteX32" fmla="*/ 11628111 w 12192000"/>
              <a:gd name="connsiteY32" fmla="*/ 6401684 h 6858000"/>
              <a:gd name="connsiteX33" fmla="*/ 11626722 w 12192000"/>
              <a:gd name="connsiteY33" fmla="*/ 6400608 h 6858000"/>
              <a:gd name="connsiteX34" fmla="*/ 11621167 w 12192000"/>
              <a:gd name="connsiteY34" fmla="*/ 6400608 h 6858000"/>
              <a:gd name="connsiteX35" fmla="*/ 11621136 w 12192000"/>
              <a:gd name="connsiteY35" fmla="*/ 6400608 h 6858000"/>
              <a:gd name="connsiteX36" fmla="*/ 11597713 w 12192000"/>
              <a:gd name="connsiteY36" fmla="*/ 6423983 h 6858000"/>
              <a:gd name="connsiteX37" fmla="*/ 11597713 w 12192000"/>
              <a:gd name="connsiteY37" fmla="*/ 6461968 h 6858000"/>
              <a:gd name="connsiteX38" fmla="*/ 11575956 w 12192000"/>
              <a:gd name="connsiteY38" fmla="*/ 6486574 h 6858000"/>
              <a:gd name="connsiteX39" fmla="*/ 11554199 w 12192000"/>
              <a:gd name="connsiteY39" fmla="*/ 6461968 h 6858000"/>
              <a:gd name="connsiteX40" fmla="*/ 11554199 w 12192000"/>
              <a:gd name="connsiteY40" fmla="*/ 6401838 h 6858000"/>
              <a:gd name="connsiteX41" fmla="*/ 11552964 w 12192000"/>
              <a:gd name="connsiteY41" fmla="*/ 6400608 h 6858000"/>
              <a:gd name="connsiteX42" fmla="*/ 11547409 w 12192000"/>
              <a:gd name="connsiteY42" fmla="*/ 6400608 h 6858000"/>
              <a:gd name="connsiteX43" fmla="*/ 11547378 w 12192000"/>
              <a:gd name="connsiteY43" fmla="*/ 6400608 h 6858000"/>
              <a:gd name="connsiteX44" fmla="*/ 11401746 w 12192000"/>
              <a:gd name="connsiteY44" fmla="*/ 6398147 h 6858000"/>
              <a:gd name="connsiteX45" fmla="*/ 11376131 w 12192000"/>
              <a:gd name="connsiteY45" fmla="*/ 6410450 h 6858000"/>
              <a:gd name="connsiteX46" fmla="*/ 11357152 w 12192000"/>
              <a:gd name="connsiteY46" fmla="*/ 6400761 h 6858000"/>
              <a:gd name="connsiteX47" fmla="*/ 11350825 w 12192000"/>
              <a:gd name="connsiteY47" fmla="*/ 6400761 h 6858000"/>
              <a:gd name="connsiteX48" fmla="*/ 11349591 w 12192000"/>
              <a:gd name="connsiteY48" fmla="*/ 6401992 h 6858000"/>
              <a:gd name="connsiteX49" fmla="*/ 11349591 w 12192000"/>
              <a:gd name="connsiteY49" fmla="*/ 6479654 h 6858000"/>
              <a:gd name="connsiteX50" fmla="*/ 11349591 w 12192000"/>
              <a:gd name="connsiteY50" fmla="*/ 6479684 h 6858000"/>
              <a:gd name="connsiteX51" fmla="*/ 11373045 w 12192000"/>
              <a:gd name="connsiteY51" fmla="*/ 6503029 h 6858000"/>
              <a:gd name="connsiteX52" fmla="*/ 11379372 w 12192000"/>
              <a:gd name="connsiteY52" fmla="*/ 6503029 h 6858000"/>
              <a:gd name="connsiteX53" fmla="*/ 11379403 w 12192000"/>
              <a:gd name="connsiteY53" fmla="*/ 6503029 h 6858000"/>
              <a:gd name="connsiteX54" fmla="*/ 11380606 w 12192000"/>
              <a:gd name="connsiteY54" fmla="*/ 6501799 h 6858000"/>
              <a:gd name="connsiteX55" fmla="*/ 11380606 w 12192000"/>
              <a:gd name="connsiteY55" fmla="*/ 6444898 h 6858000"/>
              <a:gd name="connsiteX56" fmla="*/ 11402363 w 12192000"/>
              <a:gd name="connsiteY56" fmla="*/ 6418447 h 6858000"/>
              <a:gd name="connsiteX57" fmla="*/ 11425046 w 12192000"/>
              <a:gd name="connsiteY57" fmla="*/ 6418601 h 6858000"/>
              <a:gd name="connsiteX58" fmla="*/ 11401746 w 12192000"/>
              <a:gd name="connsiteY58" fmla="*/ 6398147 h 6858000"/>
              <a:gd name="connsiteX59" fmla="*/ 11708041 w 12192000"/>
              <a:gd name="connsiteY59" fmla="*/ 6397994 h 6858000"/>
              <a:gd name="connsiteX60" fmla="*/ 11682426 w 12192000"/>
              <a:gd name="connsiteY60" fmla="*/ 6410297 h 6858000"/>
              <a:gd name="connsiteX61" fmla="*/ 11663601 w 12192000"/>
              <a:gd name="connsiteY61" fmla="*/ 6400762 h 6858000"/>
              <a:gd name="connsiteX62" fmla="*/ 11657274 w 12192000"/>
              <a:gd name="connsiteY62" fmla="*/ 6400762 h 6858000"/>
              <a:gd name="connsiteX63" fmla="*/ 11656040 w 12192000"/>
              <a:gd name="connsiteY63" fmla="*/ 6401992 h 6858000"/>
              <a:gd name="connsiteX64" fmla="*/ 11656040 w 12192000"/>
              <a:gd name="connsiteY64" fmla="*/ 6479654 h 6858000"/>
              <a:gd name="connsiteX65" fmla="*/ 11656040 w 12192000"/>
              <a:gd name="connsiteY65" fmla="*/ 6479685 h 6858000"/>
              <a:gd name="connsiteX66" fmla="*/ 11679494 w 12192000"/>
              <a:gd name="connsiteY66" fmla="*/ 6503030 h 6858000"/>
              <a:gd name="connsiteX67" fmla="*/ 11685667 w 12192000"/>
              <a:gd name="connsiteY67" fmla="*/ 6503030 h 6858000"/>
              <a:gd name="connsiteX68" fmla="*/ 11685697 w 12192000"/>
              <a:gd name="connsiteY68" fmla="*/ 6503030 h 6858000"/>
              <a:gd name="connsiteX69" fmla="*/ 11686901 w 12192000"/>
              <a:gd name="connsiteY69" fmla="*/ 6501799 h 6858000"/>
              <a:gd name="connsiteX70" fmla="*/ 11686901 w 12192000"/>
              <a:gd name="connsiteY70" fmla="*/ 6444899 h 6858000"/>
              <a:gd name="connsiteX71" fmla="*/ 11708658 w 12192000"/>
              <a:gd name="connsiteY71" fmla="*/ 6418448 h 6858000"/>
              <a:gd name="connsiteX72" fmla="*/ 11732267 w 12192000"/>
              <a:gd name="connsiteY72" fmla="*/ 6418448 h 6858000"/>
              <a:gd name="connsiteX73" fmla="*/ 11708041 w 12192000"/>
              <a:gd name="connsiteY73" fmla="*/ 6397994 h 6858000"/>
              <a:gd name="connsiteX74" fmla="*/ 11270278 w 12192000"/>
              <a:gd name="connsiteY74" fmla="*/ 6397379 h 6858000"/>
              <a:gd name="connsiteX75" fmla="*/ 11212414 w 12192000"/>
              <a:gd name="connsiteY75" fmla="*/ 6451973 h 6858000"/>
              <a:gd name="connsiteX76" fmla="*/ 11270278 w 12192000"/>
              <a:gd name="connsiteY76" fmla="*/ 6506259 h 6858000"/>
              <a:gd name="connsiteX77" fmla="*/ 11328451 w 12192000"/>
              <a:gd name="connsiteY77" fmla="*/ 6451819 h 6858000"/>
              <a:gd name="connsiteX78" fmla="*/ 11270278 w 12192000"/>
              <a:gd name="connsiteY78" fmla="*/ 6397379 h 6858000"/>
              <a:gd name="connsiteX79" fmla="*/ 11072427 w 12192000"/>
              <a:gd name="connsiteY79" fmla="*/ 6369082 h 6858000"/>
              <a:gd name="connsiteX80" fmla="*/ 11071224 w 12192000"/>
              <a:gd name="connsiteY80" fmla="*/ 6370312 h 6858000"/>
              <a:gd name="connsiteX81" fmla="*/ 11071224 w 12192000"/>
              <a:gd name="connsiteY81" fmla="*/ 6501645 h 6858000"/>
              <a:gd name="connsiteX82" fmla="*/ 11071224 w 12192000"/>
              <a:gd name="connsiteY82" fmla="*/ 6501676 h 6858000"/>
              <a:gd name="connsiteX83" fmla="*/ 11072459 w 12192000"/>
              <a:gd name="connsiteY83" fmla="*/ 6502875 h 6858000"/>
              <a:gd name="connsiteX84" fmla="*/ 11080019 w 12192000"/>
              <a:gd name="connsiteY84" fmla="*/ 6502875 h 6858000"/>
              <a:gd name="connsiteX85" fmla="*/ 11080050 w 12192000"/>
              <a:gd name="connsiteY85" fmla="*/ 6502875 h 6858000"/>
              <a:gd name="connsiteX86" fmla="*/ 11103474 w 12192000"/>
              <a:gd name="connsiteY86" fmla="*/ 6479500 h 6858000"/>
              <a:gd name="connsiteX87" fmla="*/ 11103474 w 12192000"/>
              <a:gd name="connsiteY87" fmla="*/ 6388612 h 6858000"/>
              <a:gd name="connsiteX88" fmla="*/ 11159487 w 12192000"/>
              <a:gd name="connsiteY88" fmla="*/ 6443206 h 6858000"/>
              <a:gd name="connsiteX89" fmla="*/ 11159487 w 12192000"/>
              <a:gd name="connsiteY89" fmla="*/ 6501799 h 6858000"/>
              <a:gd name="connsiteX90" fmla="*/ 11159487 w 12192000"/>
              <a:gd name="connsiteY90" fmla="*/ 6501830 h 6858000"/>
              <a:gd name="connsiteX91" fmla="*/ 11160721 w 12192000"/>
              <a:gd name="connsiteY91" fmla="*/ 6503029 h 6858000"/>
              <a:gd name="connsiteX92" fmla="*/ 11168282 w 12192000"/>
              <a:gd name="connsiteY92" fmla="*/ 6503029 h 6858000"/>
              <a:gd name="connsiteX93" fmla="*/ 11168591 w 12192000"/>
              <a:gd name="connsiteY93" fmla="*/ 6503029 h 6858000"/>
              <a:gd name="connsiteX94" fmla="*/ 11168714 w 12192000"/>
              <a:gd name="connsiteY94" fmla="*/ 6503029 h 6858000"/>
              <a:gd name="connsiteX95" fmla="*/ 11191891 w 12192000"/>
              <a:gd name="connsiteY95" fmla="*/ 6479654 h 6858000"/>
              <a:gd name="connsiteX96" fmla="*/ 11191891 w 12192000"/>
              <a:gd name="connsiteY96" fmla="*/ 6448127 h 6858000"/>
              <a:gd name="connsiteX97" fmla="*/ 11113349 w 12192000"/>
              <a:gd name="connsiteY97" fmla="*/ 6369082 h 6858000"/>
              <a:gd name="connsiteX98" fmla="*/ 11072459 w 12192000"/>
              <a:gd name="connsiteY98" fmla="*/ 6369082 h 6858000"/>
              <a:gd name="connsiteX99" fmla="*/ 11072427 w 12192000"/>
              <a:gd name="connsiteY99" fmla="*/ 6369082 h 6858000"/>
              <a:gd name="connsiteX100" fmla="*/ 11482571 w 12192000"/>
              <a:gd name="connsiteY100" fmla="*/ 6354318 h 6858000"/>
              <a:gd name="connsiteX101" fmla="*/ 11459147 w 12192000"/>
              <a:gd name="connsiteY101" fmla="*/ 6377693 h 6858000"/>
              <a:gd name="connsiteX102" fmla="*/ 11459147 w 12192000"/>
              <a:gd name="connsiteY102" fmla="*/ 6400761 h 6858000"/>
              <a:gd name="connsiteX103" fmla="*/ 11455135 w 12192000"/>
              <a:gd name="connsiteY103" fmla="*/ 6400761 h 6858000"/>
              <a:gd name="connsiteX104" fmla="*/ 11435230 w 12192000"/>
              <a:gd name="connsiteY104" fmla="*/ 6418600 h 6858000"/>
              <a:gd name="connsiteX105" fmla="*/ 11459147 w 12192000"/>
              <a:gd name="connsiteY105" fmla="*/ 6418600 h 6858000"/>
              <a:gd name="connsiteX106" fmla="*/ 11459147 w 12192000"/>
              <a:gd name="connsiteY106" fmla="*/ 6501799 h 6858000"/>
              <a:gd name="connsiteX107" fmla="*/ 11459147 w 12192000"/>
              <a:gd name="connsiteY107" fmla="*/ 6501830 h 6858000"/>
              <a:gd name="connsiteX108" fmla="*/ 11460382 w 12192000"/>
              <a:gd name="connsiteY108" fmla="*/ 6503029 h 6858000"/>
              <a:gd name="connsiteX109" fmla="*/ 11466554 w 12192000"/>
              <a:gd name="connsiteY109" fmla="*/ 6503029 h 6858000"/>
              <a:gd name="connsiteX110" fmla="*/ 11466585 w 12192000"/>
              <a:gd name="connsiteY110" fmla="*/ 6503029 h 6858000"/>
              <a:gd name="connsiteX111" fmla="*/ 11490008 w 12192000"/>
              <a:gd name="connsiteY111" fmla="*/ 6479653 h 6858000"/>
              <a:gd name="connsiteX112" fmla="*/ 11490008 w 12192000"/>
              <a:gd name="connsiteY112" fmla="*/ 6418600 h 6858000"/>
              <a:gd name="connsiteX113" fmla="*/ 11494020 w 12192000"/>
              <a:gd name="connsiteY113" fmla="*/ 6418600 h 6858000"/>
              <a:gd name="connsiteX114" fmla="*/ 11513926 w 12192000"/>
              <a:gd name="connsiteY114" fmla="*/ 6400608 h 6858000"/>
              <a:gd name="connsiteX115" fmla="*/ 11490163 w 12192000"/>
              <a:gd name="connsiteY115" fmla="*/ 6400608 h 6858000"/>
              <a:gd name="connsiteX116" fmla="*/ 11490163 w 12192000"/>
              <a:gd name="connsiteY116" fmla="*/ 6355548 h 6858000"/>
              <a:gd name="connsiteX117" fmla="*/ 11488928 w 12192000"/>
              <a:gd name="connsiteY117" fmla="*/ 6354318 h 6858000"/>
              <a:gd name="connsiteX118" fmla="*/ 11482602 w 12192000"/>
              <a:gd name="connsiteY118" fmla="*/ 6354318 h 6858000"/>
              <a:gd name="connsiteX119" fmla="*/ 11482571 w 12192000"/>
              <a:gd name="connsiteY119" fmla="*/ 6354318 h 6858000"/>
              <a:gd name="connsiteX120" fmla="*/ 0 w 12192000"/>
              <a:gd name="connsiteY120" fmla="*/ 0 h 6858000"/>
              <a:gd name="connsiteX121" fmla="*/ 12192000 w 12192000"/>
              <a:gd name="connsiteY121" fmla="*/ 0 h 6858000"/>
              <a:gd name="connsiteX122" fmla="*/ 12192000 w 12192000"/>
              <a:gd name="connsiteY122" fmla="*/ 6858000 h 6858000"/>
              <a:gd name="connsiteX123" fmla="*/ 0 w 12192000"/>
              <a:gd name="connsiteY1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2192000" h="6858000">
                <a:moveTo>
                  <a:pt x="11270278" y="6415833"/>
                </a:moveTo>
                <a:cubicBezTo>
                  <a:pt x="11284474" y="6415833"/>
                  <a:pt x="11295893" y="6431981"/>
                  <a:pt x="11295893" y="6451973"/>
                </a:cubicBezTo>
                <a:cubicBezTo>
                  <a:pt x="11295893" y="6471965"/>
                  <a:pt x="11284320" y="6488113"/>
                  <a:pt x="11270278" y="6488113"/>
                </a:cubicBezTo>
                <a:cubicBezTo>
                  <a:pt x="11256237" y="6488113"/>
                  <a:pt x="11244818" y="6471965"/>
                  <a:pt x="11244818" y="6451973"/>
                </a:cubicBezTo>
                <a:cubicBezTo>
                  <a:pt x="11244818" y="6431981"/>
                  <a:pt x="11256237" y="6415833"/>
                  <a:pt x="11270278" y="6415833"/>
                </a:cubicBezTo>
                <a:close/>
                <a:moveTo>
                  <a:pt x="11747697" y="6400608"/>
                </a:moveTo>
                <a:lnTo>
                  <a:pt x="11747697" y="6400916"/>
                </a:lnTo>
                <a:cubicBezTo>
                  <a:pt x="11747697" y="6400937"/>
                  <a:pt x="11747697" y="6400958"/>
                  <a:pt x="11747699" y="6400980"/>
                </a:cubicBezTo>
                <a:cubicBezTo>
                  <a:pt x="11747844" y="6411706"/>
                  <a:pt x="11756686" y="6420284"/>
                  <a:pt x="11767448" y="6420139"/>
                </a:cubicBezTo>
                <a:lnTo>
                  <a:pt x="11778250" y="6420139"/>
                </a:lnTo>
                <a:cubicBezTo>
                  <a:pt x="11800470" y="6420139"/>
                  <a:pt x="11811888" y="6432903"/>
                  <a:pt x="11811888" y="6453664"/>
                </a:cubicBezTo>
                <a:lnTo>
                  <a:pt x="11811888" y="6484114"/>
                </a:lnTo>
                <a:lnTo>
                  <a:pt x="11779639" y="6484114"/>
                </a:lnTo>
                <a:cubicBezTo>
                  <a:pt x="11772664" y="6484080"/>
                  <a:pt x="11767019" y="6478454"/>
                  <a:pt x="11766986" y="6471503"/>
                </a:cubicBezTo>
                <a:lnTo>
                  <a:pt x="11766986" y="6471042"/>
                </a:lnTo>
                <a:cubicBezTo>
                  <a:pt x="11766986" y="6471039"/>
                  <a:pt x="11766986" y="6471037"/>
                  <a:pt x="11766986" y="6471034"/>
                </a:cubicBezTo>
                <a:cubicBezTo>
                  <a:pt x="11767158" y="6464242"/>
                  <a:pt x="11772823" y="6458875"/>
                  <a:pt x="11779639" y="6459047"/>
                </a:cubicBezTo>
                <a:lnTo>
                  <a:pt x="11798155" y="6459047"/>
                </a:lnTo>
                <a:lnTo>
                  <a:pt x="11798155" y="6457816"/>
                </a:lnTo>
                <a:cubicBezTo>
                  <a:pt x="11797737" y="6447744"/>
                  <a:pt x="11789287" y="6439870"/>
                  <a:pt x="11779176" y="6440131"/>
                </a:cubicBezTo>
                <a:lnTo>
                  <a:pt x="11776552" y="6440131"/>
                </a:lnTo>
                <a:cubicBezTo>
                  <a:pt x="11752789" y="6440131"/>
                  <a:pt x="11735353" y="6454125"/>
                  <a:pt x="11735353" y="6471503"/>
                </a:cubicBezTo>
                <a:cubicBezTo>
                  <a:pt x="11735353" y="6488881"/>
                  <a:pt x="11752481" y="6503029"/>
                  <a:pt x="11774701" y="6503029"/>
                </a:cubicBezTo>
                <a:lnTo>
                  <a:pt x="11841052" y="6503029"/>
                </a:lnTo>
                <a:cubicBezTo>
                  <a:pt x="11841823" y="6503029"/>
                  <a:pt x="11842286" y="6502414"/>
                  <a:pt x="11842441" y="6501645"/>
                </a:cubicBezTo>
                <a:lnTo>
                  <a:pt x="11842441" y="6457663"/>
                </a:lnTo>
                <a:cubicBezTo>
                  <a:pt x="11842441" y="6422446"/>
                  <a:pt x="11823770" y="6400608"/>
                  <a:pt x="11780256" y="6400608"/>
                </a:cubicBezTo>
                <a:close/>
                <a:moveTo>
                  <a:pt x="11547378" y="6400608"/>
                </a:moveTo>
                <a:cubicBezTo>
                  <a:pt x="11534434" y="6400616"/>
                  <a:pt x="11523946" y="6411082"/>
                  <a:pt x="11523955" y="6423983"/>
                </a:cubicBezTo>
                <a:lnTo>
                  <a:pt x="11523955" y="6459662"/>
                </a:lnTo>
                <a:cubicBezTo>
                  <a:pt x="11523955" y="6485959"/>
                  <a:pt x="11547255" y="6506413"/>
                  <a:pt x="11576110" y="6506413"/>
                </a:cubicBezTo>
                <a:cubicBezTo>
                  <a:pt x="11604965" y="6506413"/>
                  <a:pt x="11628265" y="6486113"/>
                  <a:pt x="11628111" y="6459508"/>
                </a:cubicBezTo>
                <a:lnTo>
                  <a:pt x="11628111" y="6401684"/>
                </a:lnTo>
                <a:cubicBezTo>
                  <a:pt x="11627957" y="6401069"/>
                  <a:pt x="11627339" y="6400454"/>
                  <a:pt x="11626722" y="6400608"/>
                </a:cubicBezTo>
                <a:lnTo>
                  <a:pt x="11621167" y="6400608"/>
                </a:lnTo>
                <a:cubicBezTo>
                  <a:pt x="11621156" y="6400608"/>
                  <a:pt x="11621147" y="6400608"/>
                  <a:pt x="11621136" y="6400608"/>
                </a:cubicBezTo>
                <a:cubicBezTo>
                  <a:pt x="11608192" y="6400616"/>
                  <a:pt x="11597704" y="6411082"/>
                  <a:pt x="11597713" y="6423983"/>
                </a:cubicBezTo>
                <a:lnTo>
                  <a:pt x="11597713" y="6461968"/>
                </a:lnTo>
                <a:cubicBezTo>
                  <a:pt x="11597713" y="6475809"/>
                  <a:pt x="11587992" y="6486574"/>
                  <a:pt x="11575956" y="6486574"/>
                </a:cubicBezTo>
                <a:cubicBezTo>
                  <a:pt x="11563920" y="6486574"/>
                  <a:pt x="11554199" y="6475963"/>
                  <a:pt x="11554199" y="6461968"/>
                </a:cubicBezTo>
                <a:lnTo>
                  <a:pt x="11554199" y="6401838"/>
                </a:lnTo>
                <a:cubicBezTo>
                  <a:pt x="11554154" y="6401178"/>
                  <a:pt x="11553626" y="6400652"/>
                  <a:pt x="11552964" y="6400608"/>
                </a:cubicBezTo>
                <a:lnTo>
                  <a:pt x="11547409" y="6400608"/>
                </a:lnTo>
                <a:cubicBezTo>
                  <a:pt x="11547399" y="6400608"/>
                  <a:pt x="11547389" y="6400608"/>
                  <a:pt x="11547378" y="6400608"/>
                </a:cubicBezTo>
                <a:close/>
                <a:moveTo>
                  <a:pt x="11401746" y="6398147"/>
                </a:moveTo>
                <a:cubicBezTo>
                  <a:pt x="11387550" y="6398147"/>
                  <a:pt x="11382612" y="6402145"/>
                  <a:pt x="11376131" y="6410450"/>
                </a:cubicBezTo>
                <a:cubicBezTo>
                  <a:pt x="11371751" y="6404349"/>
                  <a:pt x="11364679" y="6400739"/>
                  <a:pt x="11357152" y="6400761"/>
                </a:cubicBezTo>
                <a:lnTo>
                  <a:pt x="11350825" y="6400761"/>
                </a:lnTo>
                <a:cubicBezTo>
                  <a:pt x="11350163" y="6400806"/>
                  <a:pt x="11349636" y="6401332"/>
                  <a:pt x="11349591" y="6401992"/>
                </a:cubicBezTo>
                <a:lnTo>
                  <a:pt x="11349591" y="6479654"/>
                </a:lnTo>
                <a:cubicBezTo>
                  <a:pt x="11349591" y="6479664"/>
                  <a:pt x="11349591" y="6479674"/>
                  <a:pt x="11349591" y="6479684"/>
                </a:cubicBezTo>
                <a:cubicBezTo>
                  <a:pt x="11349600" y="6492586"/>
                  <a:pt x="11360101" y="6503037"/>
                  <a:pt x="11373045" y="6503029"/>
                </a:cubicBezTo>
                <a:lnTo>
                  <a:pt x="11379372" y="6503029"/>
                </a:lnTo>
                <a:cubicBezTo>
                  <a:pt x="11379383" y="6503029"/>
                  <a:pt x="11379392" y="6503029"/>
                  <a:pt x="11379403" y="6503029"/>
                </a:cubicBezTo>
                <a:cubicBezTo>
                  <a:pt x="11380076" y="6503020"/>
                  <a:pt x="11380616" y="6502470"/>
                  <a:pt x="11380606" y="6501799"/>
                </a:cubicBezTo>
                <a:lnTo>
                  <a:pt x="11380606" y="6444898"/>
                </a:lnTo>
                <a:cubicBezTo>
                  <a:pt x="11380606" y="6425982"/>
                  <a:pt x="11385081" y="6418447"/>
                  <a:pt x="11402363" y="6418447"/>
                </a:cubicBezTo>
                <a:lnTo>
                  <a:pt x="11425046" y="6418601"/>
                </a:lnTo>
                <a:cubicBezTo>
                  <a:pt x="11425046" y="6407528"/>
                  <a:pt x="11419028" y="6398147"/>
                  <a:pt x="11401746" y="6398147"/>
                </a:cubicBezTo>
                <a:close/>
                <a:moveTo>
                  <a:pt x="11708041" y="6397994"/>
                </a:moveTo>
                <a:cubicBezTo>
                  <a:pt x="11693845" y="6397994"/>
                  <a:pt x="11688907" y="6401992"/>
                  <a:pt x="11682426" y="6410297"/>
                </a:cubicBezTo>
                <a:cubicBezTo>
                  <a:pt x="11678001" y="6404351"/>
                  <a:pt x="11671029" y="6400820"/>
                  <a:pt x="11663601" y="6400762"/>
                </a:cubicBezTo>
                <a:lnTo>
                  <a:pt x="11657274" y="6400762"/>
                </a:lnTo>
                <a:cubicBezTo>
                  <a:pt x="11656612" y="6400807"/>
                  <a:pt x="11656085" y="6401332"/>
                  <a:pt x="11656040" y="6401992"/>
                </a:cubicBezTo>
                <a:lnTo>
                  <a:pt x="11656040" y="6479654"/>
                </a:lnTo>
                <a:cubicBezTo>
                  <a:pt x="11656040" y="6479665"/>
                  <a:pt x="11656040" y="6479675"/>
                  <a:pt x="11656040" y="6479685"/>
                </a:cubicBezTo>
                <a:cubicBezTo>
                  <a:pt x="11656049" y="6492586"/>
                  <a:pt x="11666550" y="6503038"/>
                  <a:pt x="11679494" y="6503030"/>
                </a:cubicBezTo>
                <a:lnTo>
                  <a:pt x="11685667" y="6503030"/>
                </a:lnTo>
                <a:cubicBezTo>
                  <a:pt x="11685677" y="6503030"/>
                  <a:pt x="11685687" y="6503030"/>
                  <a:pt x="11685697" y="6503030"/>
                </a:cubicBezTo>
                <a:cubicBezTo>
                  <a:pt x="11686370" y="6503021"/>
                  <a:pt x="11686910" y="6502470"/>
                  <a:pt x="11686901" y="6501799"/>
                </a:cubicBezTo>
                <a:lnTo>
                  <a:pt x="11686901" y="6444899"/>
                </a:lnTo>
                <a:cubicBezTo>
                  <a:pt x="11686901" y="6425983"/>
                  <a:pt x="11691530" y="6418448"/>
                  <a:pt x="11708658" y="6418448"/>
                </a:cubicBezTo>
                <a:lnTo>
                  <a:pt x="11732267" y="6418448"/>
                </a:lnTo>
                <a:cubicBezTo>
                  <a:pt x="11732267" y="6407375"/>
                  <a:pt x="11725323" y="6397994"/>
                  <a:pt x="11708041" y="6397994"/>
                </a:cubicBezTo>
                <a:close/>
                <a:moveTo>
                  <a:pt x="11270278" y="6397379"/>
                </a:moveTo>
                <a:cubicBezTo>
                  <a:pt x="11237720" y="6397379"/>
                  <a:pt x="11212414" y="6421985"/>
                  <a:pt x="11212414" y="6451973"/>
                </a:cubicBezTo>
                <a:cubicBezTo>
                  <a:pt x="11212414" y="6481961"/>
                  <a:pt x="11237720" y="6506259"/>
                  <a:pt x="11270278" y="6506259"/>
                </a:cubicBezTo>
                <a:cubicBezTo>
                  <a:pt x="11302991" y="6506259"/>
                  <a:pt x="11328451" y="6481654"/>
                  <a:pt x="11328451" y="6451819"/>
                </a:cubicBezTo>
                <a:cubicBezTo>
                  <a:pt x="11328451" y="6421985"/>
                  <a:pt x="11302837" y="6397379"/>
                  <a:pt x="11270278" y="6397379"/>
                </a:cubicBezTo>
                <a:close/>
                <a:moveTo>
                  <a:pt x="11072427" y="6369082"/>
                </a:moveTo>
                <a:cubicBezTo>
                  <a:pt x="11071754" y="6369090"/>
                  <a:pt x="11071216" y="6369641"/>
                  <a:pt x="11071224" y="6370312"/>
                </a:cubicBezTo>
                <a:lnTo>
                  <a:pt x="11071224" y="6501645"/>
                </a:lnTo>
                <a:cubicBezTo>
                  <a:pt x="11071224" y="6501655"/>
                  <a:pt x="11071224" y="6501666"/>
                  <a:pt x="11071224" y="6501676"/>
                </a:cubicBezTo>
                <a:cubicBezTo>
                  <a:pt x="11071233" y="6502347"/>
                  <a:pt x="11071785" y="6502884"/>
                  <a:pt x="11072459" y="6502875"/>
                </a:cubicBezTo>
                <a:lnTo>
                  <a:pt x="11080019" y="6502875"/>
                </a:lnTo>
                <a:cubicBezTo>
                  <a:pt x="11080030" y="6502875"/>
                  <a:pt x="11080040" y="6502875"/>
                  <a:pt x="11080050" y="6502875"/>
                </a:cubicBezTo>
                <a:cubicBezTo>
                  <a:pt x="11092995" y="6502867"/>
                  <a:pt x="11103482" y="6492401"/>
                  <a:pt x="11103474" y="6479500"/>
                </a:cubicBezTo>
                <a:lnTo>
                  <a:pt x="11103474" y="6388612"/>
                </a:lnTo>
                <a:cubicBezTo>
                  <a:pt x="11139890" y="6388612"/>
                  <a:pt x="11159487" y="6411219"/>
                  <a:pt x="11159487" y="6443206"/>
                </a:cubicBezTo>
                <a:lnTo>
                  <a:pt x="11159487" y="6501799"/>
                </a:lnTo>
                <a:cubicBezTo>
                  <a:pt x="11159486" y="6501809"/>
                  <a:pt x="11159486" y="6501819"/>
                  <a:pt x="11159487" y="6501830"/>
                </a:cubicBezTo>
                <a:cubicBezTo>
                  <a:pt x="11159495" y="6502501"/>
                  <a:pt x="11160048" y="6503038"/>
                  <a:pt x="11160721" y="6503029"/>
                </a:cubicBezTo>
                <a:lnTo>
                  <a:pt x="11168282" y="6503029"/>
                </a:lnTo>
                <a:lnTo>
                  <a:pt x="11168591" y="6503029"/>
                </a:lnTo>
                <a:cubicBezTo>
                  <a:pt x="11168632" y="6503029"/>
                  <a:pt x="11168673" y="6503029"/>
                  <a:pt x="11168714" y="6503029"/>
                </a:cubicBezTo>
                <a:cubicBezTo>
                  <a:pt x="11181591" y="6502952"/>
                  <a:pt x="11191967" y="6492487"/>
                  <a:pt x="11191891" y="6479654"/>
                </a:cubicBezTo>
                <a:lnTo>
                  <a:pt x="11191891" y="6448127"/>
                </a:lnTo>
                <a:cubicBezTo>
                  <a:pt x="11191891" y="6401992"/>
                  <a:pt x="11158869" y="6368928"/>
                  <a:pt x="11113349" y="6369082"/>
                </a:cubicBezTo>
                <a:lnTo>
                  <a:pt x="11072459" y="6369082"/>
                </a:lnTo>
                <a:cubicBezTo>
                  <a:pt x="11072448" y="6369081"/>
                  <a:pt x="11072438" y="6369081"/>
                  <a:pt x="11072427" y="6369082"/>
                </a:cubicBezTo>
                <a:close/>
                <a:moveTo>
                  <a:pt x="11482571" y="6354318"/>
                </a:moveTo>
                <a:cubicBezTo>
                  <a:pt x="11469626" y="6354327"/>
                  <a:pt x="11459138" y="6364792"/>
                  <a:pt x="11459147" y="6377693"/>
                </a:cubicBezTo>
                <a:lnTo>
                  <a:pt x="11459147" y="6400761"/>
                </a:lnTo>
                <a:lnTo>
                  <a:pt x="11455135" y="6400761"/>
                </a:lnTo>
                <a:cubicBezTo>
                  <a:pt x="11444025" y="6400761"/>
                  <a:pt x="11435230" y="6407682"/>
                  <a:pt x="11435230" y="6418600"/>
                </a:cubicBezTo>
                <a:lnTo>
                  <a:pt x="11459147" y="6418600"/>
                </a:lnTo>
                <a:lnTo>
                  <a:pt x="11459147" y="6501799"/>
                </a:lnTo>
                <a:cubicBezTo>
                  <a:pt x="11459147" y="6501809"/>
                  <a:pt x="11459147" y="6501819"/>
                  <a:pt x="11459147" y="6501830"/>
                </a:cubicBezTo>
                <a:cubicBezTo>
                  <a:pt x="11459157" y="6502501"/>
                  <a:pt x="11459709" y="6503038"/>
                  <a:pt x="11460382" y="6503029"/>
                </a:cubicBezTo>
                <a:lnTo>
                  <a:pt x="11466554" y="6503029"/>
                </a:lnTo>
                <a:cubicBezTo>
                  <a:pt x="11466565" y="6503029"/>
                  <a:pt x="11466574" y="6503029"/>
                  <a:pt x="11466585" y="6503029"/>
                </a:cubicBezTo>
                <a:cubicBezTo>
                  <a:pt x="11479529" y="6503020"/>
                  <a:pt x="11490018" y="6492555"/>
                  <a:pt x="11490008" y="6479653"/>
                </a:cubicBezTo>
                <a:lnTo>
                  <a:pt x="11490008" y="6418600"/>
                </a:lnTo>
                <a:lnTo>
                  <a:pt x="11494020" y="6418600"/>
                </a:lnTo>
                <a:cubicBezTo>
                  <a:pt x="11504976" y="6418600"/>
                  <a:pt x="11513926" y="6411680"/>
                  <a:pt x="11513926" y="6400608"/>
                </a:cubicBezTo>
                <a:lnTo>
                  <a:pt x="11490163" y="6400608"/>
                </a:lnTo>
                <a:lnTo>
                  <a:pt x="11490163" y="6355548"/>
                </a:lnTo>
                <a:cubicBezTo>
                  <a:pt x="11490118" y="6354888"/>
                  <a:pt x="11489590" y="6354363"/>
                  <a:pt x="11488928" y="6354318"/>
                </a:cubicBezTo>
                <a:lnTo>
                  <a:pt x="11482602" y="6354318"/>
                </a:lnTo>
                <a:cubicBezTo>
                  <a:pt x="11482591" y="6354318"/>
                  <a:pt x="11482582" y="6354318"/>
                  <a:pt x="11482571" y="635431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39892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orient="horz" pos="4320">
          <p15:clr>
            <a:srgbClr val="FBAE40"/>
          </p15:clr>
        </p15:guide>
        <p15:guide id="3" pos="7680">
          <p15:clr>
            <a:srgbClr val="FBAE40"/>
          </p15:clr>
        </p15:guide>
        <p15:guide id="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>
            <a:extLst>
              <a:ext uri="{FF2B5EF4-FFF2-40B4-BE49-F238E27FC236}">
                <a16:creationId xmlns:a16="http://schemas.microsoft.com/office/drawing/2014/main" id="{2CF1FA0B-0B4D-5C46-988F-E824159A25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Bilde 01</a:t>
            </a:r>
          </a:p>
        </p:txBody>
      </p:sp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6289F209-1F18-D04B-9D40-7FBDB4B6A4D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5174278 w 6096000"/>
              <a:gd name="connsiteY0" fmla="*/ 6415833 h 6858000"/>
              <a:gd name="connsiteX1" fmla="*/ 5199893 w 6096000"/>
              <a:gd name="connsiteY1" fmla="*/ 6451973 h 6858000"/>
              <a:gd name="connsiteX2" fmla="*/ 5174278 w 6096000"/>
              <a:gd name="connsiteY2" fmla="*/ 6488113 h 6858000"/>
              <a:gd name="connsiteX3" fmla="*/ 5148818 w 6096000"/>
              <a:gd name="connsiteY3" fmla="*/ 6451973 h 6858000"/>
              <a:gd name="connsiteX4" fmla="*/ 5174278 w 6096000"/>
              <a:gd name="connsiteY4" fmla="*/ 6415833 h 6858000"/>
              <a:gd name="connsiteX5" fmla="*/ 5651697 w 6096000"/>
              <a:gd name="connsiteY5" fmla="*/ 6400608 h 6858000"/>
              <a:gd name="connsiteX6" fmla="*/ 5651697 w 6096000"/>
              <a:gd name="connsiteY6" fmla="*/ 6400916 h 6858000"/>
              <a:gd name="connsiteX7" fmla="*/ 5651699 w 6096000"/>
              <a:gd name="connsiteY7" fmla="*/ 6400980 h 6858000"/>
              <a:gd name="connsiteX8" fmla="*/ 5671448 w 6096000"/>
              <a:gd name="connsiteY8" fmla="*/ 6420139 h 6858000"/>
              <a:gd name="connsiteX9" fmla="*/ 5682250 w 6096000"/>
              <a:gd name="connsiteY9" fmla="*/ 6420139 h 6858000"/>
              <a:gd name="connsiteX10" fmla="*/ 5715888 w 6096000"/>
              <a:gd name="connsiteY10" fmla="*/ 6453664 h 6858000"/>
              <a:gd name="connsiteX11" fmla="*/ 5715888 w 6096000"/>
              <a:gd name="connsiteY11" fmla="*/ 6484114 h 6858000"/>
              <a:gd name="connsiteX12" fmla="*/ 5683639 w 6096000"/>
              <a:gd name="connsiteY12" fmla="*/ 6484114 h 6858000"/>
              <a:gd name="connsiteX13" fmla="*/ 5670986 w 6096000"/>
              <a:gd name="connsiteY13" fmla="*/ 6471503 h 6858000"/>
              <a:gd name="connsiteX14" fmla="*/ 5670986 w 6096000"/>
              <a:gd name="connsiteY14" fmla="*/ 6471042 h 6858000"/>
              <a:gd name="connsiteX15" fmla="*/ 5670986 w 6096000"/>
              <a:gd name="connsiteY15" fmla="*/ 6471034 h 6858000"/>
              <a:gd name="connsiteX16" fmla="*/ 5683639 w 6096000"/>
              <a:gd name="connsiteY16" fmla="*/ 6459047 h 6858000"/>
              <a:gd name="connsiteX17" fmla="*/ 5702155 w 6096000"/>
              <a:gd name="connsiteY17" fmla="*/ 6459047 h 6858000"/>
              <a:gd name="connsiteX18" fmla="*/ 5702155 w 6096000"/>
              <a:gd name="connsiteY18" fmla="*/ 6457816 h 6858000"/>
              <a:gd name="connsiteX19" fmla="*/ 5683176 w 6096000"/>
              <a:gd name="connsiteY19" fmla="*/ 6440131 h 6858000"/>
              <a:gd name="connsiteX20" fmla="*/ 5680552 w 6096000"/>
              <a:gd name="connsiteY20" fmla="*/ 6440131 h 6858000"/>
              <a:gd name="connsiteX21" fmla="*/ 5639353 w 6096000"/>
              <a:gd name="connsiteY21" fmla="*/ 6471503 h 6858000"/>
              <a:gd name="connsiteX22" fmla="*/ 5678701 w 6096000"/>
              <a:gd name="connsiteY22" fmla="*/ 6503029 h 6858000"/>
              <a:gd name="connsiteX23" fmla="*/ 5745052 w 6096000"/>
              <a:gd name="connsiteY23" fmla="*/ 6503029 h 6858000"/>
              <a:gd name="connsiteX24" fmla="*/ 5746441 w 6096000"/>
              <a:gd name="connsiteY24" fmla="*/ 6501645 h 6858000"/>
              <a:gd name="connsiteX25" fmla="*/ 5746441 w 6096000"/>
              <a:gd name="connsiteY25" fmla="*/ 6457663 h 6858000"/>
              <a:gd name="connsiteX26" fmla="*/ 5684256 w 6096000"/>
              <a:gd name="connsiteY26" fmla="*/ 6400608 h 6858000"/>
              <a:gd name="connsiteX27" fmla="*/ 5451378 w 6096000"/>
              <a:gd name="connsiteY27" fmla="*/ 6400608 h 6858000"/>
              <a:gd name="connsiteX28" fmla="*/ 5427955 w 6096000"/>
              <a:gd name="connsiteY28" fmla="*/ 6423983 h 6858000"/>
              <a:gd name="connsiteX29" fmla="*/ 5427955 w 6096000"/>
              <a:gd name="connsiteY29" fmla="*/ 6459662 h 6858000"/>
              <a:gd name="connsiteX30" fmla="*/ 5480110 w 6096000"/>
              <a:gd name="connsiteY30" fmla="*/ 6506413 h 6858000"/>
              <a:gd name="connsiteX31" fmla="*/ 5532111 w 6096000"/>
              <a:gd name="connsiteY31" fmla="*/ 6459508 h 6858000"/>
              <a:gd name="connsiteX32" fmla="*/ 5532111 w 6096000"/>
              <a:gd name="connsiteY32" fmla="*/ 6401684 h 6858000"/>
              <a:gd name="connsiteX33" fmla="*/ 5530722 w 6096000"/>
              <a:gd name="connsiteY33" fmla="*/ 6400608 h 6858000"/>
              <a:gd name="connsiteX34" fmla="*/ 5525167 w 6096000"/>
              <a:gd name="connsiteY34" fmla="*/ 6400608 h 6858000"/>
              <a:gd name="connsiteX35" fmla="*/ 5525136 w 6096000"/>
              <a:gd name="connsiteY35" fmla="*/ 6400608 h 6858000"/>
              <a:gd name="connsiteX36" fmla="*/ 5501713 w 6096000"/>
              <a:gd name="connsiteY36" fmla="*/ 6423983 h 6858000"/>
              <a:gd name="connsiteX37" fmla="*/ 5501713 w 6096000"/>
              <a:gd name="connsiteY37" fmla="*/ 6461968 h 6858000"/>
              <a:gd name="connsiteX38" fmla="*/ 5479956 w 6096000"/>
              <a:gd name="connsiteY38" fmla="*/ 6486574 h 6858000"/>
              <a:gd name="connsiteX39" fmla="*/ 5458199 w 6096000"/>
              <a:gd name="connsiteY39" fmla="*/ 6461968 h 6858000"/>
              <a:gd name="connsiteX40" fmla="*/ 5458199 w 6096000"/>
              <a:gd name="connsiteY40" fmla="*/ 6401838 h 6858000"/>
              <a:gd name="connsiteX41" fmla="*/ 5456964 w 6096000"/>
              <a:gd name="connsiteY41" fmla="*/ 6400608 h 6858000"/>
              <a:gd name="connsiteX42" fmla="*/ 5451409 w 6096000"/>
              <a:gd name="connsiteY42" fmla="*/ 6400608 h 6858000"/>
              <a:gd name="connsiteX43" fmla="*/ 5451378 w 6096000"/>
              <a:gd name="connsiteY43" fmla="*/ 6400608 h 6858000"/>
              <a:gd name="connsiteX44" fmla="*/ 5305746 w 6096000"/>
              <a:gd name="connsiteY44" fmla="*/ 6398147 h 6858000"/>
              <a:gd name="connsiteX45" fmla="*/ 5280131 w 6096000"/>
              <a:gd name="connsiteY45" fmla="*/ 6410450 h 6858000"/>
              <a:gd name="connsiteX46" fmla="*/ 5261152 w 6096000"/>
              <a:gd name="connsiteY46" fmla="*/ 6400761 h 6858000"/>
              <a:gd name="connsiteX47" fmla="*/ 5254825 w 6096000"/>
              <a:gd name="connsiteY47" fmla="*/ 6400761 h 6858000"/>
              <a:gd name="connsiteX48" fmla="*/ 5253591 w 6096000"/>
              <a:gd name="connsiteY48" fmla="*/ 6401992 h 6858000"/>
              <a:gd name="connsiteX49" fmla="*/ 5253591 w 6096000"/>
              <a:gd name="connsiteY49" fmla="*/ 6479654 h 6858000"/>
              <a:gd name="connsiteX50" fmla="*/ 5253591 w 6096000"/>
              <a:gd name="connsiteY50" fmla="*/ 6479684 h 6858000"/>
              <a:gd name="connsiteX51" fmla="*/ 5277045 w 6096000"/>
              <a:gd name="connsiteY51" fmla="*/ 6503029 h 6858000"/>
              <a:gd name="connsiteX52" fmla="*/ 5283372 w 6096000"/>
              <a:gd name="connsiteY52" fmla="*/ 6503029 h 6858000"/>
              <a:gd name="connsiteX53" fmla="*/ 5283403 w 6096000"/>
              <a:gd name="connsiteY53" fmla="*/ 6503029 h 6858000"/>
              <a:gd name="connsiteX54" fmla="*/ 5284606 w 6096000"/>
              <a:gd name="connsiteY54" fmla="*/ 6501799 h 6858000"/>
              <a:gd name="connsiteX55" fmla="*/ 5284606 w 6096000"/>
              <a:gd name="connsiteY55" fmla="*/ 6444898 h 6858000"/>
              <a:gd name="connsiteX56" fmla="*/ 5306363 w 6096000"/>
              <a:gd name="connsiteY56" fmla="*/ 6418447 h 6858000"/>
              <a:gd name="connsiteX57" fmla="*/ 5329046 w 6096000"/>
              <a:gd name="connsiteY57" fmla="*/ 6418601 h 6858000"/>
              <a:gd name="connsiteX58" fmla="*/ 5305746 w 6096000"/>
              <a:gd name="connsiteY58" fmla="*/ 6398147 h 6858000"/>
              <a:gd name="connsiteX59" fmla="*/ 5612041 w 6096000"/>
              <a:gd name="connsiteY59" fmla="*/ 6397994 h 6858000"/>
              <a:gd name="connsiteX60" fmla="*/ 5586426 w 6096000"/>
              <a:gd name="connsiteY60" fmla="*/ 6410297 h 6858000"/>
              <a:gd name="connsiteX61" fmla="*/ 5567601 w 6096000"/>
              <a:gd name="connsiteY61" fmla="*/ 6400762 h 6858000"/>
              <a:gd name="connsiteX62" fmla="*/ 5561274 w 6096000"/>
              <a:gd name="connsiteY62" fmla="*/ 6400762 h 6858000"/>
              <a:gd name="connsiteX63" fmla="*/ 5560040 w 6096000"/>
              <a:gd name="connsiteY63" fmla="*/ 6401992 h 6858000"/>
              <a:gd name="connsiteX64" fmla="*/ 5560040 w 6096000"/>
              <a:gd name="connsiteY64" fmla="*/ 6479654 h 6858000"/>
              <a:gd name="connsiteX65" fmla="*/ 5560040 w 6096000"/>
              <a:gd name="connsiteY65" fmla="*/ 6479685 h 6858000"/>
              <a:gd name="connsiteX66" fmla="*/ 5583494 w 6096000"/>
              <a:gd name="connsiteY66" fmla="*/ 6503030 h 6858000"/>
              <a:gd name="connsiteX67" fmla="*/ 5589667 w 6096000"/>
              <a:gd name="connsiteY67" fmla="*/ 6503030 h 6858000"/>
              <a:gd name="connsiteX68" fmla="*/ 5589697 w 6096000"/>
              <a:gd name="connsiteY68" fmla="*/ 6503030 h 6858000"/>
              <a:gd name="connsiteX69" fmla="*/ 5590901 w 6096000"/>
              <a:gd name="connsiteY69" fmla="*/ 6501799 h 6858000"/>
              <a:gd name="connsiteX70" fmla="*/ 5590901 w 6096000"/>
              <a:gd name="connsiteY70" fmla="*/ 6444899 h 6858000"/>
              <a:gd name="connsiteX71" fmla="*/ 5612658 w 6096000"/>
              <a:gd name="connsiteY71" fmla="*/ 6418448 h 6858000"/>
              <a:gd name="connsiteX72" fmla="*/ 5636267 w 6096000"/>
              <a:gd name="connsiteY72" fmla="*/ 6418448 h 6858000"/>
              <a:gd name="connsiteX73" fmla="*/ 5612041 w 6096000"/>
              <a:gd name="connsiteY73" fmla="*/ 6397994 h 6858000"/>
              <a:gd name="connsiteX74" fmla="*/ 5174278 w 6096000"/>
              <a:gd name="connsiteY74" fmla="*/ 6397379 h 6858000"/>
              <a:gd name="connsiteX75" fmla="*/ 5116414 w 6096000"/>
              <a:gd name="connsiteY75" fmla="*/ 6451973 h 6858000"/>
              <a:gd name="connsiteX76" fmla="*/ 5174278 w 6096000"/>
              <a:gd name="connsiteY76" fmla="*/ 6506259 h 6858000"/>
              <a:gd name="connsiteX77" fmla="*/ 5232451 w 6096000"/>
              <a:gd name="connsiteY77" fmla="*/ 6451819 h 6858000"/>
              <a:gd name="connsiteX78" fmla="*/ 5174278 w 6096000"/>
              <a:gd name="connsiteY78" fmla="*/ 6397379 h 6858000"/>
              <a:gd name="connsiteX79" fmla="*/ 4976427 w 6096000"/>
              <a:gd name="connsiteY79" fmla="*/ 6369082 h 6858000"/>
              <a:gd name="connsiteX80" fmla="*/ 4975224 w 6096000"/>
              <a:gd name="connsiteY80" fmla="*/ 6370312 h 6858000"/>
              <a:gd name="connsiteX81" fmla="*/ 4975224 w 6096000"/>
              <a:gd name="connsiteY81" fmla="*/ 6501645 h 6858000"/>
              <a:gd name="connsiteX82" fmla="*/ 4975224 w 6096000"/>
              <a:gd name="connsiteY82" fmla="*/ 6501676 h 6858000"/>
              <a:gd name="connsiteX83" fmla="*/ 4976459 w 6096000"/>
              <a:gd name="connsiteY83" fmla="*/ 6502875 h 6858000"/>
              <a:gd name="connsiteX84" fmla="*/ 4984019 w 6096000"/>
              <a:gd name="connsiteY84" fmla="*/ 6502875 h 6858000"/>
              <a:gd name="connsiteX85" fmla="*/ 4984050 w 6096000"/>
              <a:gd name="connsiteY85" fmla="*/ 6502875 h 6858000"/>
              <a:gd name="connsiteX86" fmla="*/ 5007474 w 6096000"/>
              <a:gd name="connsiteY86" fmla="*/ 6479500 h 6858000"/>
              <a:gd name="connsiteX87" fmla="*/ 5007474 w 6096000"/>
              <a:gd name="connsiteY87" fmla="*/ 6388612 h 6858000"/>
              <a:gd name="connsiteX88" fmla="*/ 5063487 w 6096000"/>
              <a:gd name="connsiteY88" fmla="*/ 6443206 h 6858000"/>
              <a:gd name="connsiteX89" fmla="*/ 5063487 w 6096000"/>
              <a:gd name="connsiteY89" fmla="*/ 6501799 h 6858000"/>
              <a:gd name="connsiteX90" fmla="*/ 5063487 w 6096000"/>
              <a:gd name="connsiteY90" fmla="*/ 6501830 h 6858000"/>
              <a:gd name="connsiteX91" fmla="*/ 5064721 w 6096000"/>
              <a:gd name="connsiteY91" fmla="*/ 6503029 h 6858000"/>
              <a:gd name="connsiteX92" fmla="*/ 5072282 w 6096000"/>
              <a:gd name="connsiteY92" fmla="*/ 6503029 h 6858000"/>
              <a:gd name="connsiteX93" fmla="*/ 5072591 w 6096000"/>
              <a:gd name="connsiteY93" fmla="*/ 6503029 h 6858000"/>
              <a:gd name="connsiteX94" fmla="*/ 5072714 w 6096000"/>
              <a:gd name="connsiteY94" fmla="*/ 6503029 h 6858000"/>
              <a:gd name="connsiteX95" fmla="*/ 5095891 w 6096000"/>
              <a:gd name="connsiteY95" fmla="*/ 6479654 h 6858000"/>
              <a:gd name="connsiteX96" fmla="*/ 5095891 w 6096000"/>
              <a:gd name="connsiteY96" fmla="*/ 6448127 h 6858000"/>
              <a:gd name="connsiteX97" fmla="*/ 5017349 w 6096000"/>
              <a:gd name="connsiteY97" fmla="*/ 6369082 h 6858000"/>
              <a:gd name="connsiteX98" fmla="*/ 4976459 w 6096000"/>
              <a:gd name="connsiteY98" fmla="*/ 6369082 h 6858000"/>
              <a:gd name="connsiteX99" fmla="*/ 4976427 w 6096000"/>
              <a:gd name="connsiteY99" fmla="*/ 6369082 h 6858000"/>
              <a:gd name="connsiteX100" fmla="*/ 5386571 w 6096000"/>
              <a:gd name="connsiteY100" fmla="*/ 6354318 h 6858000"/>
              <a:gd name="connsiteX101" fmla="*/ 5363147 w 6096000"/>
              <a:gd name="connsiteY101" fmla="*/ 6377693 h 6858000"/>
              <a:gd name="connsiteX102" fmla="*/ 5363147 w 6096000"/>
              <a:gd name="connsiteY102" fmla="*/ 6400761 h 6858000"/>
              <a:gd name="connsiteX103" fmla="*/ 5359135 w 6096000"/>
              <a:gd name="connsiteY103" fmla="*/ 6400761 h 6858000"/>
              <a:gd name="connsiteX104" fmla="*/ 5339230 w 6096000"/>
              <a:gd name="connsiteY104" fmla="*/ 6418600 h 6858000"/>
              <a:gd name="connsiteX105" fmla="*/ 5363147 w 6096000"/>
              <a:gd name="connsiteY105" fmla="*/ 6418600 h 6858000"/>
              <a:gd name="connsiteX106" fmla="*/ 5363147 w 6096000"/>
              <a:gd name="connsiteY106" fmla="*/ 6501799 h 6858000"/>
              <a:gd name="connsiteX107" fmla="*/ 5363147 w 6096000"/>
              <a:gd name="connsiteY107" fmla="*/ 6501830 h 6858000"/>
              <a:gd name="connsiteX108" fmla="*/ 5364382 w 6096000"/>
              <a:gd name="connsiteY108" fmla="*/ 6503029 h 6858000"/>
              <a:gd name="connsiteX109" fmla="*/ 5370554 w 6096000"/>
              <a:gd name="connsiteY109" fmla="*/ 6503029 h 6858000"/>
              <a:gd name="connsiteX110" fmla="*/ 5370585 w 6096000"/>
              <a:gd name="connsiteY110" fmla="*/ 6503029 h 6858000"/>
              <a:gd name="connsiteX111" fmla="*/ 5394008 w 6096000"/>
              <a:gd name="connsiteY111" fmla="*/ 6479653 h 6858000"/>
              <a:gd name="connsiteX112" fmla="*/ 5394008 w 6096000"/>
              <a:gd name="connsiteY112" fmla="*/ 6418600 h 6858000"/>
              <a:gd name="connsiteX113" fmla="*/ 5398020 w 6096000"/>
              <a:gd name="connsiteY113" fmla="*/ 6418600 h 6858000"/>
              <a:gd name="connsiteX114" fmla="*/ 5417926 w 6096000"/>
              <a:gd name="connsiteY114" fmla="*/ 6400608 h 6858000"/>
              <a:gd name="connsiteX115" fmla="*/ 5394163 w 6096000"/>
              <a:gd name="connsiteY115" fmla="*/ 6400608 h 6858000"/>
              <a:gd name="connsiteX116" fmla="*/ 5394163 w 6096000"/>
              <a:gd name="connsiteY116" fmla="*/ 6355548 h 6858000"/>
              <a:gd name="connsiteX117" fmla="*/ 5392928 w 6096000"/>
              <a:gd name="connsiteY117" fmla="*/ 6354318 h 6858000"/>
              <a:gd name="connsiteX118" fmla="*/ 5386602 w 6096000"/>
              <a:gd name="connsiteY118" fmla="*/ 6354318 h 6858000"/>
              <a:gd name="connsiteX119" fmla="*/ 5386571 w 6096000"/>
              <a:gd name="connsiteY119" fmla="*/ 6354318 h 6858000"/>
              <a:gd name="connsiteX120" fmla="*/ 0 w 6096000"/>
              <a:gd name="connsiteY120" fmla="*/ 0 h 6858000"/>
              <a:gd name="connsiteX121" fmla="*/ 6096000 w 6096000"/>
              <a:gd name="connsiteY121" fmla="*/ 0 h 6858000"/>
              <a:gd name="connsiteX122" fmla="*/ 6096000 w 6096000"/>
              <a:gd name="connsiteY122" fmla="*/ 6858000 h 6858000"/>
              <a:gd name="connsiteX123" fmla="*/ 0 w 6096000"/>
              <a:gd name="connsiteY1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6096000" h="6858000">
                <a:moveTo>
                  <a:pt x="5174278" y="6415833"/>
                </a:moveTo>
                <a:cubicBezTo>
                  <a:pt x="5188474" y="6415833"/>
                  <a:pt x="5199893" y="6431981"/>
                  <a:pt x="5199893" y="6451973"/>
                </a:cubicBezTo>
                <a:cubicBezTo>
                  <a:pt x="5199893" y="6471965"/>
                  <a:pt x="5188320" y="6488113"/>
                  <a:pt x="5174278" y="6488113"/>
                </a:cubicBezTo>
                <a:cubicBezTo>
                  <a:pt x="5160237" y="6488113"/>
                  <a:pt x="5148818" y="6471965"/>
                  <a:pt x="5148818" y="6451973"/>
                </a:cubicBezTo>
                <a:cubicBezTo>
                  <a:pt x="5148818" y="6431981"/>
                  <a:pt x="5160237" y="6415833"/>
                  <a:pt x="5174278" y="6415833"/>
                </a:cubicBezTo>
                <a:close/>
                <a:moveTo>
                  <a:pt x="5651697" y="6400608"/>
                </a:moveTo>
                <a:lnTo>
                  <a:pt x="5651697" y="6400916"/>
                </a:lnTo>
                <a:cubicBezTo>
                  <a:pt x="5651697" y="6400937"/>
                  <a:pt x="5651697" y="6400958"/>
                  <a:pt x="5651699" y="6400980"/>
                </a:cubicBezTo>
                <a:cubicBezTo>
                  <a:pt x="5651844" y="6411706"/>
                  <a:pt x="5660686" y="6420284"/>
                  <a:pt x="5671448" y="6420139"/>
                </a:cubicBezTo>
                <a:lnTo>
                  <a:pt x="5682250" y="6420139"/>
                </a:lnTo>
                <a:cubicBezTo>
                  <a:pt x="5704470" y="6420139"/>
                  <a:pt x="5715888" y="6432903"/>
                  <a:pt x="5715888" y="6453664"/>
                </a:cubicBezTo>
                <a:lnTo>
                  <a:pt x="5715888" y="6484114"/>
                </a:lnTo>
                <a:lnTo>
                  <a:pt x="5683639" y="6484114"/>
                </a:lnTo>
                <a:cubicBezTo>
                  <a:pt x="5676664" y="6484080"/>
                  <a:pt x="5671019" y="6478454"/>
                  <a:pt x="5670986" y="6471503"/>
                </a:cubicBezTo>
                <a:lnTo>
                  <a:pt x="5670986" y="6471042"/>
                </a:lnTo>
                <a:cubicBezTo>
                  <a:pt x="5670986" y="6471039"/>
                  <a:pt x="5670986" y="6471037"/>
                  <a:pt x="5670986" y="6471034"/>
                </a:cubicBezTo>
                <a:cubicBezTo>
                  <a:pt x="5671158" y="6464242"/>
                  <a:pt x="5676823" y="6458875"/>
                  <a:pt x="5683639" y="6459047"/>
                </a:cubicBezTo>
                <a:lnTo>
                  <a:pt x="5702155" y="6459047"/>
                </a:lnTo>
                <a:lnTo>
                  <a:pt x="5702155" y="6457816"/>
                </a:lnTo>
                <a:cubicBezTo>
                  <a:pt x="5701737" y="6447744"/>
                  <a:pt x="5693287" y="6439870"/>
                  <a:pt x="5683176" y="6440131"/>
                </a:cubicBezTo>
                <a:lnTo>
                  <a:pt x="5680552" y="6440131"/>
                </a:lnTo>
                <a:cubicBezTo>
                  <a:pt x="5656789" y="6440131"/>
                  <a:pt x="5639353" y="6454125"/>
                  <a:pt x="5639353" y="6471503"/>
                </a:cubicBezTo>
                <a:cubicBezTo>
                  <a:pt x="5639353" y="6488881"/>
                  <a:pt x="5656481" y="6503029"/>
                  <a:pt x="5678701" y="6503029"/>
                </a:cubicBezTo>
                <a:lnTo>
                  <a:pt x="5745052" y="6503029"/>
                </a:lnTo>
                <a:cubicBezTo>
                  <a:pt x="5745823" y="6503029"/>
                  <a:pt x="5746286" y="6502414"/>
                  <a:pt x="5746441" y="6501645"/>
                </a:cubicBezTo>
                <a:lnTo>
                  <a:pt x="5746441" y="6457663"/>
                </a:lnTo>
                <a:cubicBezTo>
                  <a:pt x="5746441" y="6422446"/>
                  <a:pt x="5727770" y="6400608"/>
                  <a:pt x="5684256" y="6400608"/>
                </a:cubicBezTo>
                <a:close/>
                <a:moveTo>
                  <a:pt x="5451378" y="6400608"/>
                </a:moveTo>
                <a:cubicBezTo>
                  <a:pt x="5438434" y="6400616"/>
                  <a:pt x="5427946" y="6411082"/>
                  <a:pt x="5427955" y="6423983"/>
                </a:cubicBezTo>
                <a:lnTo>
                  <a:pt x="5427955" y="6459662"/>
                </a:lnTo>
                <a:cubicBezTo>
                  <a:pt x="5427955" y="6485959"/>
                  <a:pt x="5451255" y="6506413"/>
                  <a:pt x="5480110" y="6506413"/>
                </a:cubicBezTo>
                <a:cubicBezTo>
                  <a:pt x="5508965" y="6506413"/>
                  <a:pt x="5532265" y="6486113"/>
                  <a:pt x="5532111" y="6459508"/>
                </a:cubicBezTo>
                <a:lnTo>
                  <a:pt x="5532111" y="6401684"/>
                </a:lnTo>
                <a:cubicBezTo>
                  <a:pt x="5531957" y="6401069"/>
                  <a:pt x="5531339" y="6400454"/>
                  <a:pt x="5530722" y="6400608"/>
                </a:cubicBezTo>
                <a:lnTo>
                  <a:pt x="5525167" y="6400608"/>
                </a:lnTo>
                <a:cubicBezTo>
                  <a:pt x="5525156" y="6400608"/>
                  <a:pt x="5525147" y="6400608"/>
                  <a:pt x="5525136" y="6400608"/>
                </a:cubicBezTo>
                <a:cubicBezTo>
                  <a:pt x="5512192" y="6400616"/>
                  <a:pt x="5501704" y="6411082"/>
                  <a:pt x="5501713" y="6423983"/>
                </a:cubicBezTo>
                <a:lnTo>
                  <a:pt x="5501713" y="6461968"/>
                </a:lnTo>
                <a:cubicBezTo>
                  <a:pt x="5501713" y="6475809"/>
                  <a:pt x="5491992" y="6486574"/>
                  <a:pt x="5479956" y="6486574"/>
                </a:cubicBezTo>
                <a:cubicBezTo>
                  <a:pt x="5467920" y="6486574"/>
                  <a:pt x="5458199" y="6475963"/>
                  <a:pt x="5458199" y="6461968"/>
                </a:cubicBezTo>
                <a:lnTo>
                  <a:pt x="5458199" y="6401838"/>
                </a:lnTo>
                <a:cubicBezTo>
                  <a:pt x="5458154" y="6401178"/>
                  <a:pt x="5457626" y="6400652"/>
                  <a:pt x="5456964" y="6400608"/>
                </a:cubicBezTo>
                <a:lnTo>
                  <a:pt x="5451409" y="6400608"/>
                </a:lnTo>
                <a:cubicBezTo>
                  <a:pt x="5451399" y="6400608"/>
                  <a:pt x="5451389" y="6400608"/>
                  <a:pt x="5451378" y="6400608"/>
                </a:cubicBezTo>
                <a:close/>
                <a:moveTo>
                  <a:pt x="5305746" y="6398147"/>
                </a:moveTo>
                <a:cubicBezTo>
                  <a:pt x="5291550" y="6398147"/>
                  <a:pt x="5286612" y="6402145"/>
                  <a:pt x="5280131" y="6410450"/>
                </a:cubicBezTo>
                <a:cubicBezTo>
                  <a:pt x="5275751" y="6404349"/>
                  <a:pt x="5268679" y="6400739"/>
                  <a:pt x="5261152" y="6400761"/>
                </a:cubicBezTo>
                <a:lnTo>
                  <a:pt x="5254825" y="6400761"/>
                </a:lnTo>
                <a:cubicBezTo>
                  <a:pt x="5254163" y="6400806"/>
                  <a:pt x="5253636" y="6401332"/>
                  <a:pt x="5253591" y="6401992"/>
                </a:cubicBezTo>
                <a:lnTo>
                  <a:pt x="5253591" y="6479654"/>
                </a:lnTo>
                <a:cubicBezTo>
                  <a:pt x="5253591" y="6479664"/>
                  <a:pt x="5253591" y="6479674"/>
                  <a:pt x="5253591" y="6479684"/>
                </a:cubicBezTo>
                <a:cubicBezTo>
                  <a:pt x="5253600" y="6492586"/>
                  <a:pt x="5264101" y="6503037"/>
                  <a:pt x="5277045" y="6503029"/>
                </a:cubicBezTo>
                <a:lnTo>
                  <a:pt x="5283372" y="6503029"/>
                </a:lnTo>
                <a:cubicBezTo>
                  <a:pt x="5283383" y="6503029"/>
                  <a:pt x="5283392" y="6503029"/>
                  <a:pt x="5283403" y="6503029"/>
                </a:cubicBezTo>
                <a:cubicBezTo>
                  <a:pt x="5284076" y="6503020"/>
                  <a:pt x="5284616" y="6502470"/>
                  <a:pt x="5284606" y="6501799"/>
                </a:cubicBezTo>
                <a:lnTo>
                  <a:pt x="5284606" y="6444898"/>
                </a:lnTo>
                <a:cubicBezTo>
                  <a:pt x="5284606" y="6425982"/>
                  <a:pt x="5289081" y="6418447"/>
                  <a:pt x="5306363" y="6418447"/>
                </a:cubicBezTo>
                <a:lnTo>
                  <a:pt x="5329046" y="6418601"/>
                </a:lnTo>
                <a:cubicBezTo>
                  <a:pt x="5329046" y="6407528"/>
                  <a:pt x="5323028" y="6398147"/>
                  <a:pt x="5305746" y="6398147"/>
                </a:cubicBezTo>
                <a:close/>
                <a:moveTo>
                  <a:pt x="5612041" y="6397994"/>
                </a:moveTo>
                <a:cubicBezTo>
                  <a:pt x="5597845" y="6397994"/>
                  <a:pt x="5592907" y="6401992"/>
                  <a:pt x="5586426" y="6410297"/>
                </a:cubicBezTo>
                <a:cubicBezTo>
                  <a:pt x="5582001" y="6404351"/>
                  <a:pt x="5575029" y="6400820"/>
                  <a:pt x="5567601" y="6400762"/>
                </a:cubicBezTo>
                <a:lnTo>
                  <a:pt x="5561274" y="6400762"/>
                </a:lnTo>
                <a:cubicBezTo>
                  <a:pt x="5560612" y="6400807"/>
                  <a:pt x="5560085" y="6401332"/>
                  <a:pt x="5560040" y="6401992"/>
                </a:cubicBezTo>
                <a:lnTo>
                  <a:pt x="5560040" y="6479654"/>
                </a:lnTo>
                <a:cubicBezTo>
                  <a:pt x="5560040" y="6479665"/>
                  <a:pt x="5560040" y="6479675"/>
                  <a:pt x="5560040" y="6479685"/>
                </a:cubicBezTo>
                <a:cubicBezTo>
                  <a:pt x="5560049" y="6492586"/>
                  <a:pt x="5570550" y="6503038"/>
                  <a:pt x="5583494" y="6503030"/>
                </a:cubicBezTo>
                <a:lnTo>
                  <a:pt x="5589667" y="6503030"/>
                </a:lnTo>
                <a:cubicBezTo>
                  <a:pt x="5589677" y="6503030"/>
                  <a:pt x="5589687" y="6503030"/>
                  <a:pt x="5589697" y="6503030"/>
                </a:cubicBezTo>
                <a:cubicBezTo>
                  <a:pt x="5590370" y="6503021"/>
                  <a:pt x="5590910" y="6502470"/>
                  <a:pt x="5590901" y="6501799"/>
                </a:cubicBezTo>
                <a:lnTo>
                  <a:pt x="5590901" y="6444899"/>
                </a:lnTo>
                <a:cubicBezTo>
                  <a:pt x="5590901" y="6425983"/>
                  <a:pt x="5595530" y="6418448"/>
                  <a:pt x="5612658" y="6418448"/>
                </a:cubicBezTo>
                <a:lnTo>
                  <a:pt x="5636267" y="6418448"/>
                </a:lnTo>
                <a:cubicBezTo>
                  <a:pt x="5636267" y="6407375"/>
                  <a:pt x="5629323" y="6397994"/>
                  <a:pt x="5612041" y="6397994"/>
                </a:cubicBezTo>
                <a:close/>
                <a:moveTo>
                  <a:pt x="5174278" y="6397379"/>
                </a:moveTo>
                <a:cubicBezTo>
                  <a:pt x="5141720" y="6397379"/>
                  <a:pt x="5116414" y="6421985"/>
                  <a:pt x="5116414" y="6451973"/>
                </a:cubicBezTo>
                <a:cubicBezTo>
                  <a:pt x="5116414" y="6481961"/>
                  <a:pt x="5141720" y="6506259"/>
                  <a:pt x="5174278" y="6506259"/>
                </a:cubicBezTo>
                <a:cubicBezTo>
                  <a:pt x="5206991" y="6506259"/>
                  <a:pt x="5232451" y="6481654"/>
                  <a:pt x="5232451" y="6451819"/>
                </a:cubicBezTo>
                <a:cubicBezTo>
                  <a:pt x="5232451" y="6421985"/>
                  <a:pt x="5206837" y="6397379"/>
                  <a:pt x="5174278" y="6397379"/>
                </a:cubicBezTo>
                <a:close/>
                <a:moveTo>
                  <a:pt x="4976427" y="6369082"/>
                </a:moveTo>
                <a:cubicBezTo>
                  <a:pt x="4975754" y="6369090"/>
                  <a:pt x="4975216" y="6369641"/>
                  <a:pt x="4975224" y="6370312"/>
                </a:cubicBezTo>
                <a:lnTo>
                  <a:pt x="4975224" y="6501645"/>
                </a:lnTo>
                <a:cubicBezTo>
                  <a:pt x="4975224" y="6501655"/>
                  <a:pt x="4975224" y="6501666"/>
                  <a:pt x="4975224" y="6501676"/>
                </a:cubicBezTo>
                <a:cubicBezTo>
                  <a:pt x="4975233" y="6502347"/>
                  <a:pt x="4975785" y="6502884"/>
                  <a:pt x="4976459" y="6502875"/>
                </a:cubicBezTo>
                <a:lnTo>
                  <a:pt x="4984019" y="6502875"/>
                </a:lnTo>
                <a:cubicBezTo>
                  <a:pt x="4984030" y="6502875"/>
                  <a:pt x="4984040" y="6502875"/>
                  <a:pt x="4984050" y="6502875"/>
                </a:cubicBezTo>
                <a:cubicBezTo>
                  <a:pt x="4996995" y="6502867"/>
                  <a:pt x="5007482" y="6492401"/>
                  <a:pt x="5007474" y="6479500"/>
                </a:cubicBezTo>
                <a:lnTo>
                  <a:pt x="5007474" y="6388612"/>
                </a:lnTo>
                <a:cubicBezTo>
                  <a:pt x="5043890" y="6388612"/>
                  <a:pt x="5063487" y="6411219"/>
                  <a:pt x="5063487" y="6443206"/>
                </a:cubicBezTo>
                <a:lnTo>
                  <a:pt x="5063487" y="6501799"/>
                </a:lnTo>
                <a:cubicBezTo>
                  <a:pt x="5063486" y="6501809"/>
                  <a:pt x="5063486" y="6501819"/>
                  <a:pt x="5063487" y="6501830"/>
                </a:cubicBezTo>
                <a:cubicBezTo>
                  <a:pt x="5063495" y="6502501"/>
                  <a:pt x="5064048" y="6503038"/>
                  <a:pt x="5064721" y="6503029"/>
                </a:cubicBezTo>
                <a:lnTo>
                  <a:pt x="5072282" y="6503029"/>
                </a:lnTo>
                <a:lnTo>
                  <a:pt x="5072591" y="6503029"/>
                </a:lnTo>
                <a:cubicBezTo>
                  <a:pt x="5072632" y="6503029"/>
                  <a:pt x="5072673" y="6503029"/>
                  <a:pt x="5072714" y="6503029"/>
                </a:cubicBezTo>
                <a:cubicBezTo>
                  <a:pt x="5085591" y="6502952"/>
                  <a:pt x="5095967" y="6492487"/>
                  <a:pt x="5095891" y="6479654"/>
                </a:cubicBezTo>
                <a:lnTo>
                  <a:pt x="5095891" y="6448127"/>
                </a:lnTo>
                <a:cubicBezTo>
                  <a:pt x="5095891" y="6401992"/>
                  <a:pt x="5062869" y="6368928"/>
                  <a:pt x="5017349" y="6369082"/>
                </a:cubicBezTo>
                <a:lnTo>
                  <a:pt x="4976459" y="6369082"/>
                </a:lnTo>
                <a:cubicBezTo>
                  <a:pt x="4976448" y="6369081"/>
                  <a:pt x="4976438" y="6369081"/>
                  <a:pt x="4976427" y="6369082"/>
                </a:cubicBezTo>
                <a:close/>
                <a:moveTo>
                  <a:pt x="5386571" y="6354318"/>
                </a:moveTo>
                <a:cubicBezTo>
                  <a:pt x="5373626" y="6354327"/>
                  <a:pt x="5363138" y="6364792"/>
                  <a:pt x="5363147" y="6377693"/>
                </a:cubicBezTo>
                <a:lnTo>
                  <a:pt x="5363147" y="6400761"/>
                </a:lnTo>
                <a:lnTo>
                  <a:pt x="5359135" y="6400761"/>
                </a:lnTo>
                <a:cubicBezTo>
                  <a:pt x="5348025" y="6400761"/>
                  <a:pt x="5339230" y="6407682"/>
                  <a:pt x="5339230" y="6418600"/>
                </a:cubicBezTo>
                <a:lnTo>
                  <a:pt x="5363147" y="6418600"/>
                </a:lnTo>
                <a:lnTo>
                  <a:pt x="5363147" y="6501799"/>
                </a:lnTo>
                <a:cubicBezTo>
                  <a:pt x="5363147" y="6501809"/>
                  <a:pt x="5363147" y="6501819"/>
                  <a:pt x="5363147" y="6501830"/>
                </a:cubicBezTo>
                <a:cubicBezTo>
                  <a:pt x="5363157" y="6502501"/>
                  <a:pt x="5363709" y="6503038"/>
                  <a:pt x="5364382" y="6503029"/>
                </a:cubicBezTo>
                <a:lnTo>
                  <a:pt x="5370554" y="6503029"/>
                </a:lnTo>
                <a:cubicBezTo>
                  <a:pt x="5370565" y="6503029"/>
                  <a:pt x="5370574" y="6503029"/>
                  <a:pt x="5370585" y="6503029"/>
                </a:cubicBezTo>
                <a:cubicBezTo>
                  <a:pt x="5383529" y="6503020"/>
                  <a:pt x="5394018" y="6492555"/>
                  <a:pt x="5394008" y="6479653"/>
                </a:cubicBezTo>
                <a:lnTo>
                  <a:pt x="5394008" y="6418600"/>
                </a:lnTo>
                <a:lnTo>
                  <a:pt x="5398020" y="6418600"/>
                </a:lnTo>
                <a:cubicBezTo>
                  <a:pt x="5408976" y="6418600"/>
                  <a:pt x="5417926" y="6411680"/>
                  <a:pt x="5417926" y="6400608"/>
                </a:cubicBezTo>
                <a:lnTo>
                  <a:pt x="5394163" y="6400608"/>
                </a:lnTo>
                <a:lnTo>
                  <a:pt x="5394163" y="6355548"/>
                </a:lnTo>
                <a:cubicBezTo>
                  <a:pt x="5394118" y="6354888"/>
                  <a:pt x="5393590" y="6354363"/>
                  <a:pt x="5392928" y="6354318"/>
                </a:cubicBezTo>
                <a:lnTo>
                  <a:pt x="5386602" y="6354318"/>
                </a:lnTo>
                <a:cubicBezTo>
                  <a:pt x="5386591" y="6354318"/>
                  <a:pt x="5386582" y="6354318"/>
                  <a:pt x="5386571" y="6354318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Bilde 02</a:t>
            </a:r>
          </a:p>
        </p:txBody>
      </p:sp>
    </p:spTree>
    <p:extLst>
      <p:ext uri="{BB962C8B-B14F-4D97-AF65-F5344CB8AC3E}">
        <p14:creationId xmlns:p14="http://schemas.microsoft.com/office/powerpoint/2010/main" val="3221663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k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Grafikk 1026">
            <a:extLst>
              <a:ext uri="{FF2B5EF4-FFF2-40B4-BE49-F238E27FC236}">
                <a16:creationId xmlns:a16="http://schemas.microsoft.com/office/drawing/2014/main" id="{5723725E-5960-D840-9217-4D01C7229F35}"/>
              </a:ext>
            </a:extLst>
          </p:cNvPr>
          <p:cNvSpPr/>
          <p:nvPr/>
        </p:nvSpPr>
        <p:spPr>
          <a:xfrm>
            <a:off x="-3928272" y="-4704496"/>
            <a:ext cx="17478018" cy="16266992"/>
          </a:xfrm>
          <a:custGeom>
            <a:avLst/>
            <a:gdLst>
              <a:gd name="connsiteX0" fmla="*/ 1589540 w 2944781"/>
              <a:gd name="connsiteY0" fmla="*/ 2740724 h 2740749"/>
              <a:gd name="connsiteX1" fmla="*/ 212241 w 2944781"/>
              <a:gd name="connsiteY1" fmla="*/ 1874520 h 2740749"/>
              <a:gd name="connsiteX2" fmla="*/ 607724 w 2944781"/>
              <a:gd name="connsiteY2" fmla="*/ 125159 h 2740749"/>
              <a:gd name="connsiteX3" fmla="*/ 1169060 w 2944781"/>
              <a:gd name="connsiteY3" fmla="*/ 0 h 2740749"/>
              <a:gd name="connsiteX4" fmla="*/ 2660224 w 2944781"/>
              <a:gd name="connsiteY4" fmla="*/ 625793 h 2740749"/>
              <a:gd name="connsiteX5" fmla="*/ 2042430 w 2944781"/>
              <a:gd name="connsiteY5" fmla="*/ 2636425 h 2740749"/>
              <a:gd name="connsiteX6" fmla="*/ 1589920 w 2944781"/>
              <a:gd name="connsiteY6" fmla="*/ 2740724 h 274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44781" h="2740749">
                <a:moveTo>
                  <a:pt x="1589540" y="2740724"/>
                </a:moveTo>
                <a:cubicBezTo>
                  <a:pt x="1070118" y="2740724"/>
                  <a:pt x="517241" y="2379345"/>
                  <a:pt x="212241" y="1874520"/>
                </a:cubicBezTo>
                <a:cubicBezTo>
                  <a:pt x="-185428" y="1216819"/>
                  <a:pt x="-7884" y="434340"/>
                  <a:pt x="607724" y="125159"/>
                </a:cubicBezTo>
                <a:cubicBezTo>
                  <a:pt x="779375" y="38767"/>
                  <a:pt x="970891" y="0"/>
                  <a:pt x="1169060" y="0"/>
                </a:cubicBezTo>
                <a:cubicBezTo>
                  <a:pt x="1682304" y="0"/>
                  <a:pt x="2244972" y="258985"/>
                  <a:pt x="2660224" y="625793"/>
                </a:cubicBezTo>
                <a:cubicBezTo>
                  <a:pt x="3344549" y="1230725"/>
                  <a:pt x="2656992" y="2327148"/>
                  <a:pt x="2042430" y="2636425"/>
                </a:cubicBezTo>
                <a:cubicBezTo>
                  <a:pt x="1901794" y="2706136"/>
                  <a:pt x="1746816" y="2741857"/>
                  <a:pt x="1589920" y="2740724"/>
                </a:cubicBezTo>
              </a:path>
            </a:pathLst>
          </a:custGeom>
          <a:solidFill>
            <a:schemeClr val="bg2"/>
          </a:solidFill>
          <a:ln w="9494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6AF0ADB2-B581-8B47-BC96-7CE2CC8406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072" t="40635" r="73647" b="41164"/>
          <a:stretch/>
        </p:blipFill>
        <p:spPr>
          <a:xfrm>
            <a:off x="4445000" y="3081564"/>
            <a:ext cx="724459" cy="677212"/>
          </a:xfrm>
          <a:prstGeom prst="rect">
            <a:avLst/>
          </a:prstGeom>
        </p:spPr>
      </p:pic>
      <p:pic>
        <p:nvPicPr>
          <p:cNvPr id="6" name="Grafikk 5">
            <a:extLst>
              <a:ext uri="{FF2B5EF4-FFF2-40B4-BE49-F238E27FC236}">
                <a16:creationId xmlns:a16="http://schemas.microsoft.com/office/drawing/2014/main" id="{44065E5A-ABAF-FC4D-A369-96126E049C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8182" t="31752" b="36105"/>
          <a:stretch/>
        </p:blipFill>
        <p:spPr>
          <a:xfrm>
            <a:off x="5239265" y="2835876"/>
            <a:ext cx="2820098" cy="1186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38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1028"/>
                                        </p:tgtEl>
                                      </p:cBhvr>
                                      <p:by x="3000" y="3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8" grpId="0" animBg="1"/>
    </p:bldLst>
  </p:timing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418C8D5-2E4C-BD9D-07C2-FD7007BB5E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11673" b="3311"/>
          <a:stretch/>
        </p:blipFill>
        <p:spPr>
          <a:xfrm>
            <a:off x="-2855" y="1"/>
            <a:ext cx="12194854" cy="6900938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E1AA005C-32A6-B74E-9B62-2D57828587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4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9304" cy="7199196"/>
          </a:xfrm>
          <a:prstGeom prst="rect">
            <a:avLst/>
          </a:prstGeom>
        </p:spPr>
      </p:pic>
      <p:grpSp>
        <p:nvGrpSpPr>
          <p:cNvPr id="4" name="Gruppe 3">
            <a:extLst>
              <a:ext uri="{FF2B5EF4-FFF2-40B4-BE49-F238E27FC236}">
                <a16:creationId xmlns:a16="http://schemas.microsoft.com/office/drawing/2014/main" id="{23806877-49B6-B14F-8887-9324DF1BD479}"/>
              </a:ext>
            </a:extLst>
          </p:cNvPr>
          <p:cNvGrpSpPr/>
          <p:nvPr userDrawn="1"/>
        </p:nvGrpSpPr>
        <p:grpSpPr>
          <a:xfrm>
            <a:off x="1" y="4756778"/>
            <a:ext cx="4344269" cy="2578243"/>
            <a:chOff x="1" y="4756778"/>
            <a:chExt cx="4344269" cy="2578243"/>
          </a:xfrm>
        </p:grpSpPr>
        <p:sp>
          <p:nvSpPr>
            <p:cNvPr id="1035" name="Friform 1034">
              <a:extLst>
                <a:ext uri="{FF2B5EF4-FFF2-40B4-BE49-F238E27FC236}">
                  <a16:creationId xmlns:a16="http://schemas.microsoft.com/office/drawing/2014/main" id="{601C99DD-7E4E-354A-9B67-78D84A6D0426}"/>
                </a:ext>
              </a:extLst>
            </p:cNvPr>
            <p:cNvSpPr/>
            <p:nvPr userDrawn="1"/>
          </p:nvSpPr>
          <p:spPr>
            <a:xfrm>
              <a:off x="1" y="4993574"/>
              <a:ext cx="4344269" cy="1864426"/>
            </a:xfrm>
            <a:custGeom>
              <a:avLst/>
              <a:gdLst>
                <a:gd name="connsiteX0" fmla="*/ 1534229 w 4344269"/>
                <a:gd name="connsiteY0" fmla="*/ 0 h 1864426"/>
                <a:gd name="connsiteX1" fmla="*/ 3900832 w 4344269"/>
                <a:gd name="connsiteY1" fmla="*/ 993186 h 1864426"/>
                <a:gd name="connsiteX2" fmla="*/ 4342982 w 4344269"/>
                <a:gd name="connsiteY2" fmla="*/ 1827795 h 1864426"/>
                <a:gd name="connsiteX3" fmla="*/ 4344269 w 4344269"/>
                <a:gd name="connsiteY3" fmla="*/ 1864426 h 1864426"/>
                <a:gd name="connsiteX4" fmla="*/ 0 w 4344269"/>
                <a:gd name="connsiteY4" fmla="*/ 1864426 h 1864426"/>
                <a:gd name="connsiteX5" fmla="*/ 0 w 4344269"/>
                <a:gd name="connsiteY5" fmla="*/ 757992 h 1864426"/>
                <a:gd name="connsiteX6" fmla="*/ 44335 w 4344269"/>
                <a:gd name="connsiteY6" fmla="*/ 692672 h 1864426"/>
                <a:gd name="connsiteX7" fmla="*/ 643341 w 4344269"/>
                <a:gd name="connsiteY7" fmla="*/ 198637 h 1864426"/>
                <a:gd name="connsiteX8" fmla="*/ 1534229 w 4344269"/>
                <a:gd name="connsiteY8" fmla="*/ 0 h 1864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44269" h="1864426">
                  <a:moveTo>
                    <a:pt x="1534229" y="0"/>
                  </a:moveTo>
                  <a:cubicBezTo>
                    <a:pt x="2348791" y="0"/>
                    <a:pt x="3241791" y="411031"/>
                    <a:pt x="3900832" y="993186"/>
                  </a:cubicBezTo>
                  <a:cubicBezTo>
                    <a:pt x="4172353" y="1233206"/>
                    <a:pt x="4307792" y="1521978"/>
                    <a:pt x="4342982" y="1827795"/>
                  </a:cubicBezTo>
                  <a:lnTo>
                    <a:pt x="4344269" y="1864426"/>
                  </a:lnTo>
                  <a:lnTo>
                    <a:pt x="0" y="1864426"/>
                  </a:lnTo>
                  <a:lnTo>
                    <a:pt x="0" y="757992"/>
                  </a:lnTo>
                  <a:lnTo>
                    <a:pt x="44335" y="692672"/>
                  </a:lnTo>
                  <a:cubicBezTo>
                    <a:pt x="198283" y="490934"/>
                    <a:pt x="399086" y="321312"/>
                    <a:pt x="643341" y="198637"/>
                  </a:cubicBezTo>
                  <a:cubicBezTo>
                    <a:pt x="915766" y="61526"/>
                    <a:pt x="1219718" y="0"/>
                    <a:pt x="1534229" y="0"/>
                  </a:cubicBezTo>
                  <a:close/>
                </a:path>
              </a:pathLst>
            </a:custGeom>
            <a:solidFill>
              <a:srgbClr val="FFFFFF"/>
            </a:solidFill>
            <a:ln w="150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pic>
          <p:nvPicPr>
            <p:cNvPr id="8" name="Grafikk 7">
              <a:extLst>
                <a:ext uri="{FF2B5EF4-FFF2-40B4-BE49-F238E27FC236}">
                  <a16:creationId xmlns:a16="http://schemas.microsoft.com/office/drawing/2014/main" id="{E65FCD45-CF88-5F47-B1D6-842A2D00E8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41707" y="4756778"/>
              <a:ext cx="2745993" cy="2578243"/>
            </a:xfrm>
            <a:prstGeom prst="rect">
              <a:avLst/>
            </a:prstGeom>
          </p:spPr>
        </p:pic>
      </p:grpSp>
      <p:sp>
        <p:nvSpPr>
          <p:cNvPr id="11" name="Tittel 1">
            <a:extLst>
              <a:ext uri="{FF2B5EF4-FFF2-40B4-BE49-F238E27FC236}">
                <a16:creationId xmlns:a16="http://schemas.microsoft.com/office/drawing/2014/main" id="{66E543C8-816A-DE4C-B012-DDE484F89B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0" y="874712"/>
            <a:ext cx="5575300" cy="2387600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598DA538-F2DE-E544-8B72-E2752CCE00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0" y="3322637"/>
            <a:ext cx="5575300" cy="7629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D255C96C-01CA-5A41-BBA9-FD2316FC98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68400" y="4145862"/>
            <a:ext cx="4254500" cy="263526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b-NO" dirty="0"/>
              <a:t>Sikkerhetsmarkering</a:t>
            </a:r>
          </a:p>
        </p:txBody>
      </p:sp>
    </p:spTree>
    <p:extLst>
      <p:ext uri="{BB962C8B-B14F-4D97-AF65-F5344CB8AC3E}">
        <p14:creationId xmlns:p14="http://schemas.microsoft.com/office/powerpoint/2010/main" val="2867457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710">
          <p15:clr>
            <a:srgbClr val="FBAE40"/>
          </p15:clr>
        </p15:guide>
        <p15:guide id="2" orient="horz" pos="23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A1E8622-6CA0-C251-F0D1-6DC672B2C6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4428" b="11196"/>
          <a:stretch/>
        </p:blipFill>
        <p:spPr>
          <a:xfrm>
            <a:off x="1" y="-1"/>
            <a:ext cx="12191999" cy="6858001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E1AA005C-32A6-B74E-9B62-2D57828587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4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85877"/>
          </a:xfrm>
          <a:prstGeom prst="rect">
            <a:avLst/>
          </a:prstGeom>
        </p:spPr>
      </p:pic>
      <p:grpSp>
        <p:nvGrpSpPr>
          <p:cNvPr id="4" name="Gruppe 3">
            <a:extLst>
              <a:ext uri="{FF2B5EF4-FFF2-40B4-BE49-F238E27FC236}">
                <a16:creationId xmlns:a16="http://schemas.microsoft.com/office/drawing/2014/main" id="{23806877-49B6-B14F-8887-9324DF1BD479}"/>
              </a:ext>
            </a:extLst>
          </p:cNvPr>
          <p:cNvGrpSpPr/>
          <p:nvPr userDrawn="1"/>
        </p:nvGrpSpPr>
        <p:grpSpPr>
          <a:xfrm>
            <a:off x="1" y="4756778"/>
            <a:ext cx="4344269" cy="2578243"/>
            <a:chOff x="1" y="4756778"/>
            <a:chExt cx="4344269" cy="2578243"/>
          </a:xfrm>
        </p:grpSpPr>
        <p:sp>
          <p:nvSpPr>
            <p:cNvPr id="1035" name="Friform 1034">
              <a:extLst>
                <a:ext uri="{FF2B5EF4-FFF2-40B4-BE49-F238E27FC236}">
                  <a16:creationId xmlns:a16="http://schemas.microsoft.com/office/drawing/2014/main" id="{601C99DD-7E4E-354A-9B67-78D84A6D0426}"/>
                </a:ext>
              </a:extLst>
            </p:cNvPr>
            <p:cNvSpPr/>
            <p:nvPr userDrawn="1"/>
          </p:nvSpPr>
          <p:spPr>
            <a:xfrm>
              <a:off x="1" y="4993574"/>
              <a:ext cx="4344269" cy="1864426"/>
            </a:xfrm>
            <a:custGeom>
              <a:avLst/>
              <a:gdLst>
                <a:gd name="connsiteX0" fmla="*/ 1534229 w 4344269"/>
                <a:gd name="connsiteY0" fmla="*/ 0 h 1864426"/>
                <a:gd name="connsiteX1" fmla="*/ 3900832 w 4344269"/>
                <a:gd name="connsiteY1" fmla="*/ 993186 h 1864426"/>
                <a:gd name="connsiteX2" fmla="*/ 4342982 w 4344269"/>
                <a:gd name="connsiteY2" fmla="*/ 1827795 h 1864426"/>
                <a:gd name="connsiteX3" fmla="*/ 4344269 w 4344269"/>
                <a:gd name="connsiteY3" fmla="*/ 1864426 h 1864426"/>
                <a:gd name="connsiteX4" fmla="*/ 0 w 4344269"/>
                <a:gd name="connsiteY4" fmla="*/ 1864426 h 1864426"/>
                <a:gd name="connsiteX5" fmla="*/ 0 w 4344269"/>
                <a:gd name="connsiteY5" fmla="*/ 757992 h 1864426"/>
                <a:gd name="connsiteX6" fmla="*/ 44335 w 4344269"/>
                <a:gd name="connsiteY6" fmla="*/ 692672 h 1864426"/>
                <a:gd name="connsiteX7" fmla="*/ 643341 w 4344269"/>
                <a:gd name="connsiteY7" fmla="*/ 198637 h 1864426"/>
                <a:gd name="connsiteX8" fmla="*/ 1534229 w 4344269"/>
                <a:gd name="connsiteY8" fmla="*/ 0 h 1864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44269" h="1864426">
                  <a:moveTo>
                    <a:pt x="1534229" y="0"/>
                  </a:moveTo>
                  <a:cubicBezTo>
                    <a:pt x="2348791" y="0"/>
                    <a:pt x="3241791" y="411031"/>
                    <a:pt x="3900832" y="993186"/>
                  </a:cubicBezTo>
                  <a:cubicBezTo>
                    <a:pt x="4172353" y="1233206"/>
                    <a:pt x="4307792" y="1521978"/>
                    <a:pt x="4342982" y="1827795"/>
                  </a:cubicBezTo>
                  <a:lnTo>
                    <a:pt x="4344269" y="1864426"/>
                  </a:lnTo>
                  <a:lnTo>
                    <a:pt x="0" y="1864426"/>
                  </a:lnTo>
                  <a:lnTo>
                    <a:pt x="0" y="757992"/>
                  </a:lnTo>
                  <a:lnTo>
                    <a:pt x="44335" y="692672"/>
                  </a:lnTo>
                  <a:cubicBezTo>
                    <a:pt x="198283" y="490934"/>
                    <a:pt x="399086" y="321312"/>
                    <a:pt x="643341" y="198637"/>
                  </a:cubicBezTo>
                  <a:cubicBezTo>
                    <a:pt x="915766" y="61526"/>
                    <a:pt x="1219718" y="0"/>
                    <a:pt x="1534229" y="0"/>
                  </a:cubicBezTo>
                  <a:close/>
                </a:path>
              </a:pathLst>
            </a:custGeom>
            <a:solidFill>
              <a:srgbClr val="FFFFFF"/>
            </a:solidFill>
            <a:ln w="150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pic>
          <p:nvPicPr>
            <p:cNvPr id="8" name="Grafikk 7">
              <a:extLst>
                <a:ext uri="{FF2B5EF4-FFF2-40B4-BE49-F238E27FC236}">
                  <a16:creationId xmlns:a16="http://schemas.microsoft.com/office/drawing/2014/main" id="{E65FCD45-CF88-5F47-B1D6-842A2D00E8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41707" y="4756778"/>
              <a:ext cx="2745993" cy="2578243"/>
            </a:xfrm>
            <a:prstGeom prst="rect">
              <a:avLst/>
            </a:prstGeom>
          </p:spPr>
        </p:pic>
      </p:grpSp>
      <p:sp>
        <p:nvSpPr>
          <p:cNvPr id="11" name="Tittel 1">
            <a:extLst>
              <a:ext uri="{FF2B5EF4-FFF2-40B4-BE49-F238E27FC236}">
                <a16:creationId xmlns:a16="http://schemas.microsoft.com/office/drawing/2014/main" id="{66E543C8-816A-DE4C-B012-DDE484F89B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0" y="874712"/>
            <a:ext cx="5575300" cy="2387600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598DA538-F2DE-E544-8B72-E2752CCE00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0" y="3322637"/>
            <a:ext cx="5575300" cy="7629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D255C96C-01CA-5A41-BBA9-FD2316FC98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68400" y="4145862"/>
            <a:ext cx="4254500" cy="263526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b-NO" dirty="0"/>
              <a:t>Sikkerhetsmarkering</a:t>
            </a:r>
          </a:p>
        </p:txBody>
      </p:sp>
    </p:spTree>
    <p:extLst>
      <p:ext uri="{BB962C8B-B14F-4D97-AF65-F5344CB8AC3E}">
        <p14:creationId xmlns:p14="http://schemas.microsoft.com/office/powerpoint/2010/main" val="2340357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710">
          <p15:clr>
            <a:srgbClr val="FBAE40"/>
          </p15:clr>
        </p15:guide>
        <p15:guide id="2" orient="horz" pos="23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4313EE-730F-CD48-D0CD-64F2C87B36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7727" b="7727"/>
          <a:stretch/>
        </p:blipFill>
        <p:spPr>
          <a:xfrm>
            <a:off x="-1" y="-13939"/>
            <a:ext cx="12191999" cy="6871940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E1AA005C-32A6-B74E-9B62-2D57828587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264" y="0"/>
            <a:ext cx="12191999" cy="6885877"/>
          </a:xfrm>
          <a:prstGeom prst="rect">
            <a:avLst/>
          </a:prstGeom>
        </p:spPr>
      </p:pic>
      <p:grpSp>
        <p:nvGrpSpPr>
          <p:cNvPr id="4" name="Gruppe 3">
            <a:extLst>
              <a:ext uri="{FF2B5EF4-FFF2-40B4-BE49-F238E27FC236}">
                <a16:creationId xmlns:a16="http://schemas.microsoft.com/office/drawing/2014/main" id="{23806877-49B6-B14F-8887-9324DF1BD479}"/>
              </a:ext>
            </a:extLst>
          </p:cNvPr>
          <p:cNvGrpSpPr/>
          <p:nvPr userDrawn="1"/>
        </p:nvGrpSpPr>
        <p:grpSpPr>
          <a:xfrm>
            <a:off x="1" y="4756778"/>
            <a:ext cx="4344269" cy="2578243"/>
            <a:chOff x="1" y="4756778"/>
            <a:chExt cx="4344269" cy="2578243"/>
          </a:xfrm>
        </p:grpSpPr>
        <p:sp>
          <p:nvSpPr>
            <p:cNvPr id="1035" name="Friform 1034">
              <a:extLst>
                <a:ext uri="{FF2B5EF4-FFF2-40B4-BE49-F238E27FC236}">
                  <a16:creationId xmlns:a16="http://schemas.microsoft.com/office/drawing/2014/main" id="{601C99DD-7E4E-354A-9B67-78D84A6D0426}"/>
                </a:ext>
              </a:extLst>
            </p:cNvPr>
            <p:cNvSpPr/>
            <p:nvPr userDrawn="1"/>
          </p:nvSpPr>
          <p:spPr>
            <a:xfrm>
              <a:off x="1" y="4993574"/>
              <a:ext cx="4344269" cy="1864426"/>
            </a:xfrm>
            <a:custGeom>
              <a:avLst/>
              <a:gdLst>
                <a:gd name="connsiteX0" fmla="*/ 1534229 w 4344269"/>
                <a:gd name="connsiteY0" fmla="*/ 0 h 1864426"/>
                <a:gd name="connsiteX1" fmla="*/ 3900832 w 4344269"/>
                <a:gd name="connsiteY1" fmla="*/ 993186 h 1864426"/>
                <a:gd name="connsiteX2" fmla="*/ 4342982 w 4344269"/>
                <a:gd name="connsiteY2" fmla="*/ 1827795 h 1864426"/>
                <a:gd name="connsiteX3" fmla="*/ 4344269 w 4344269"/>
                <a:gd name="connsiteY3" fmla="*/ 1864426 h 1864426"/>
                <a:gd name="connsiteX4" fmla="*/ 0 w 4344269"/>
                <a:gd name="connsiteY4" fmla="*/ 1864426 h 1864426"/>
                <a:gd name="connsiteX5" fmla="*/ 0 w 4344269"/>
                <a:gd name="connsiteY5" fmla="*/ 757992 h 1864426"/>
                <a:gd name="connsiteX6" fmla="*/ 44335 w 4344269"/>
                <a:gd name="connsiteY6" fmla="*/ 692672 h 1864426"/>
                <a:gd name="connsiteX7" fmla="*/ 643341 w 4344269"/>
                <a:gd name="connsiteY7" fmla="*/ 198637 h 1864426"/>
                <a:gd name="connsiteX8" fmla="*/ 1534229 w 4344269"/>
                <a:gd name="connsiteY8" fmla="*/ 0 h 1864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44269" h="1864426">
                  <a:moveTo>
                    <a:pt x="1534229" y="0"/>
                  </a:moveTo>
                  <a:cubicBezTo>
                    <a:pt x="2348791" y="0"/>
                    <a:pt x="3241791" y="411031"/>
                    <a:pt x="3900832" y="993186"/>
                  </a:cubicBezTo>
                  <a:cubicBezTo>
                    <a:pt x="4172353" y="1233206"/>
                    <a:pt x="4307792" y="1521978"/>
                    <a:pt x="4342982" y="1827795"/>
                  </a:cubicBezTo>
                  <a:lnTo>
                    <a:pt x="4344269" y="1864426"/>
                  </a:lnTo>
                  <a:lnTo>
                    <a:pt x="0" y="1864426"/>
                  </a:lnTo>
                  <a:lnTo>
                    <a:pt x="0" y="757992"/>
                  </a:lnTo>
                  <a:lnTo>
                    <a:pt x="44335" y="692672"/>
                  </a:lnTo>
                  <a:cubicBezTo>
                    <a:pt x="198283" y="490934"/>
                    <a:pt x="399086" y="321312"/>
                    <a:pt x="643341" y="198637"/>
                  </a:cubicBezTo>
                  <a:cubicBezTo>
                    <a:pt x="915766" y="61526"/>
                    <a:pt x="1219718" y="0"/>
                    <a:pt x="1534229" y="0"/>
                  </a:cubicBezTo>
                  <a:close/>
                </a:path>
              </a:pathLst>
            </a:custGeom>
            <a:solidFill>
              <a:srgbClr val="FFFFFF"/>
            </a:solidFill>
            <a:ln w="150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pic>
          <p:nvPicPr>
            <p:cNvPr id="8" name="Grafikk 7">
              <a:extLst>
                <a:ext uri="{FF2B5EF4-FFF2-40B4-BE49-F238E27FC236}">
                  <a16:creationId xmlns:a16="http://schemas.microsoft.com/office/drawing/2014/main" id="{E65FCD45-CF88-5F47-B1D6-842A2D00E8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41707" y="4756778"/>
              <a:ext cx="2745993" cy="2578243"/>
            </a:xfrm>
            <a:prstGeom prst="rect">
              <a:avLst/>
            </a:prstGeom>
          </p:spPr>
        </p:pic>
      </p:grpSp>
      <p:sp>
        <p:nvSpPr>
          <p:cNvPr id="11" name="Tittel 1">
            <a:extLst>
              <a:ext uri="{FF2B5EF4-FFF2-40B4-BE49-F238E27FC236}">
                <a16:creationId xmlns:a16="http://schemas.microsoft.com/office/drawing/2014/main" id="{66E543C8-816A-DE4C-B012-DDE484F89B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0" y="874712"/>
            <a:ext cx="5575300" cy="2387600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598DA538-F2DE-E544-8B72-E2752CCE00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0" y="3322637"/>
            <a:ext cx="5575300" cy="7629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D255C96C-01CA-5A41-BBA9-FD2316FC98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68400" y="4145862"/>
            <a:ext cx="4254500" cy="263526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b-NO" dirty="0"/>
              <a:t>Sikkerhetsmarkering</a:t>
            </a:r>
          </a:p>
        </p:txBody>
      </p:sp>
    </p:spTree>
    <p:extLst>
      <p:ext uri="{BB962C8B-B14F-4D97-AF65-F5344CB8AC3E}">
        <p14:creationId xmlns:p14="http://schemas.microsoft.com/office/powerpoint/2010/main" val="289308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710">
          <p15:clr>
            <a:srgbClr val="FBAE40"/>
          </p15:clr>
        </p15:guide>
        <p15:guide id="2" orient="horz" pos="23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35AF439-F8E0-7800-75E5-322C40B484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7702" b="7702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E1AA005C-32A6-B74E-9B62-2D57828587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71" y="0"/>
            <a:ext cx="12191999" cy="6858000"/>
          </a:xfrm>
          <a:prstGeom prst="rect">
            <a:avLst/>
          </a:prstGeom>
        </p:spPr>
      </p:pic>
      <p:grpSp>
        <p:nvGrpSpPr>
          <p:cNvPr id="4" name="Gruppe 3">
            <a:extLst>
              <a:ext uri="{FF2B5EF4-FFF2-40B4-BE49-F238E27FC236}">
                <a16:creationId xmlns:a16="http://schemas.microsoft.com/office/drawing/2014/main" id="{23806877-49B6-B14F-8887-9324DF1BD479}"/>
              </a:ext>
            </a:extLst>
          </p:cNvPr>
          <p:cNvGrpSpPr/>
          <p:nvPr userDrawn="1"/>
        </p:nvGrpSpPr>
        <p:grpSpPr>
          <a:xfrm>
            <a:off x="1" y="4756778"/>
            <a:ext cx="4344269" cy="2578243"/>
            <a:chOff x="1" y="4756778"/>
            <a:chExt cx="4344269" cy="2578243"/>
          </a:xfrm>
        </p:grpSpPr>
        <p:sp>
          <p:nvSpPr>
            <p:cNvPr id="1035" name="Friform 1034">
              <a:extLst>
                <a:ext uri="{FF2B5EF4-FFF2-40B4-BE49-F238E27FC236}">
                  <a16:creationId xmlns:a16="http://schemas.microsoft.com/office/drawing/2014/main" id="{601C99DD-7E4E-354A-9B67-78D84A6D0426}"/>
                </a:ext>
              </a:extLst>
            </p:cNvPr>
            <p:cNvSpPr/>
            <p:nvPr userDrawn="1"/>
          </p:nvSpPr>
          <p:spPr>
            <a:xfrm>
              <a:off x="1" y="4993574"/>
              <a:ext cx="4344269" cy="1864426"/>
            </a:xfrm>
            <a:custGeom>
              <a:avLst/>
              <a:gdLst>
                <a:gd name="connsiteX0" fmla="*/ 1534229 w 4344269"/>
                <a:gd name="connsiteY0" fmla="*/ 0 h 1864426"/>
                <a:gd name="connsiteX1" fmla="*/ 3900832 w 4344269"/>
                <a:gd name="connsiteY1" fmla="*/ 993186 h 1864426"/>
                <a:gd name="connsiteX2" fmla="*/ 4342982 w 4344269"/>
                <a:gd name="connsiteY2" fmla="*/ 1827795 h 1864426"/>
                <a:gd name="connsiteX3" fmla="*/ 4344269 w 4344269"/>
                <a:gd name="connsiteY3" fmla="*/ 1864426 h 1864426"/>
                <a:gd name="connsiteX4" fmla="*/ 0 w 4344269"/>
                <a:gd name="connsiteY4" fmla="*/ 1864426 h 1864426"/>
                <a:gd name="connsiteX5" fmla="*/ 0 w 4344269"/>
                <a:gd name="connsiteY5" fmla="*/ 757992 h 1864426"/>
                <a:gd name="connsiteX6" fmla="*/ 44335 w 4344269"/>
                <a:gd name="connsiteY6" fmla="*/ 692672 h 1864426"/>
                <a:gd name="connsiteX7" fmla="*/ 643341 w 4344269"/>
                <a:gd name="connsiteY7" fmla="*/ 198637 h 1864426"/>
                <a:gd name="connsiteX8" fmla="*/ 1534229 w 4344269"/>
                <a:gd name="connsiteY8" fmla="*/ 0 h 1864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44269" h="1864426">
                  <a:moveTo>
                    <a:pt x="1534229" y="0"/>
                  </a:moveTo>
                  <a:cubicBezTo>
                    <a:pt x="2348791" y="0"/>
                    <a:pt x="3241791" y="411031"/>
                    <a:pt x="3900832" y="993186"/>
                  </a:cubicBezTo>
                  <a:cubicBezTo>
                    <a:pt x="4172353" y="1233206"/>
                    <a:pt x="4307792" y="1521978"/>
                    <a:pt x="4342982" y="1827795"/>
                  </a:cubicBezTo>
                  <a:lnTo>
                    <a:pt x="4344269" y="1864426"/>
                  </a:lnTo>
                  <a:lnTo>
                    <a:pt x="0" y="1864426"/>
                  </a:lnTo>
                  <a:lnTo>
                    <a:pt x="0" y="757992"/>
                  </a:lnTo>
                  <a:lnTo>
                    <a:pt x="44335" y="692672"/>
                  </a:lnTo>
                  <a:cubicBezTo>
                    <a:pt x="198283" y="490934"/>
                    <a:pt x="399086" y="321312"/>
                    <a:pt x="643341" y="198637"/>
                  </a:cubicBezTo>
                  <a:cubicBezTo>
                    <a:pt x="915766" y="61526"/>
                    <a:pt x="1219718" y="0"/>
                    <a:pt x="1534229" y="0"/>
                  </a:cubicBezTo>
                  <a:close/>
                </a:path>
              </a:pathLst>
            </a:custGeom>
            <a:solidFill>
              <a:srgbClr val="FFFFFF"/>
            </a:solidFill>
            <a:ln w="150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pic>
          <p:nvPicPr>
            <p:cNvPr id="8" name="Grafikk 7">
              <a:extLst>
                <a:ext uri="{FF2B5EF4-FFF2-40B4-BE49-F238E27FC236}">
                  <a16:creationId xmlns:a16="http://schemas.microsoft.com/office/drawing/2014/main" id="{E65FCD45-CF88-5F47-B1D6-842A2D00E8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41707" y="4756778"/>
              <a:ext cx="2745993" cy="2578243"/>
            </a:xfrm>
            <a:prstGeom prst="rect">
              <a:avLst/>
            </a:prstGeom>
          </p:spPr>
        </p:pic>
      </p:grpSp>
      <p:sp>
        <p:nvSpPr>
          <p:cNvPr id="11" name="Tittel 1">
            <a:extLst>
              <a:ext uri="{FF2B5EF4-FFF2-40B4-BE49-F238E27FC236}">
                <a16:creationId xmlns:a16="http://schemas.microsoft.com/office/drawing/2014/main" id="{66E543C8-816A-DE4C-B012-DDE484F89B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0" y="874712"/>
            <a:ext cx="5575300" cy="2387600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598DA538-F2DE-E544-8B72-E2752CCE00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0" y="3322637"/>
            <a:ext cx="5575300" cy="7629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D255C96C-01CA-5A41-BBA9-FD2316FC98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68400" y="4145862"/>
            <a:ext cx="4254500" cy="263526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b-NO" dirty="0"/>
              <a:t>Sikkerhetsmarkering</a:t>
            </a:r>
          </a:p>
        </p:txBody>
      </p:sp>
    </p:spTree>
    <p:extLst>
      <p:ext uri="{BB962C8B-B14F-4D97-AF65-F5344CB8AC3E}">
        <p14:creationId xmlns:p14="http://schemas.microsoft.com/office/powerpoint/2010/main" val="978926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710">
          <p15:clr>
            <a:srgbClr val="FBAE40"/>
          </p15:clr>
        </p15:guide>
        <p15:guide id="2" orient="horz" pos="23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4BDE576-5BB6-505D-3BF1-A3F58FD2B9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80" t="9816" r="-80" b="5721"/>
          <a:stretch/>
        </p:blipFill>
        <p:spPr>
          <a:xfrm>
            <a:off x="-9726" y="-9123"/>
            <a:ext cx="12211451" cy="6876246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E1AA005C-32A6-B74E-9B62-2D57828587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4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9123"/>
            <a:ext cx="12212320" cy="7071360"/>
          </a:xfrm>
          <a:prstGeom prst="rect">
            <a:avLst/>
          </a:prstGeom>
        </p:spPr>
      </p:pic>
      <p:grpSp>
        <p:nvGrpSpPr>
          <p:cNvPr id="4" name="Gruppe 3">
            <a:extLst>
              <a:ext uri="{FF2B5EF4-FFF2-40B4-BE49-F238E27FC236}">
                <a16:creationId xmlns:a16="http://schemas.microsoft.com/office/drawing/2014/main" id="{23806877-49B6-B14F-8887-9324DF1BD479}"/>
              </a:ext>
            </a:extLst>
          </p:cNvPr>
          <p:cNvGrpSpPr/>
          <p:nvPr userDrawn="1"/>
        </p:nvGrpSpPr>
        <p:grpSpPr>
          <a:xfrm>
            <a:off x="1" y="4756778"/>
            <a:ext cx="4344269" cy="2578243"/>
            <a:chOff x="1" y="4756778"/>
            <a:chExt cx="4344269" cy="2578243"/>
          </a:xfrm>
        </p:grpSpPr>
        <p:sp>
          <p:nvSpPr>
            <p:cNvPr id="1035" name="Friform 1034">
              <a:extLst>
                <a:ext uri="{FF2B5EF4-FFF2-40B4-BE49-F238E27FC236}">
                  <a16:creationId xmlns:a16="http://schemas.microsoft.com/office/drawing/2014/main" id="{601C99DD-7E4E-354A-9B67-78D84A6D0426}"/>
                </a:ext>
              </a:extLst>
            </p:cNvPr>
            <p:cNvSpPr/>
            <p:nvPr userDrawn="1"/>
          </p:nvSpPr>
          <p:spPr>
            <a:xfrm>
              <a:off x="1" y="4993574"/>
              <a:ext cx="4344269" cy="1864426"/>
            </a:xfrm>
            <a:custGeom>
              <a:avLst/>
              <a:gdLst>
                <a:gd name="connsiteX0" fmla="*/ 1534229 w 4344269"/>
                <a:gd name="connsiteY0" fmla="*/ 0 h 1864426"/>
                <a:gd name="connsiteX1" fmla="*/ 3900832 w 4344269"/>
                <a:gd name="connsiteY1" fmla="*/ 993186 h 1864426"/>
                <a:gd name="connsiteX2" fmla="*/ 4342982 w 4344269"/>
                <a:gd name="connsiteY2" fmla="*/ 1827795 h 1864426"/>
                <a:gd name="connsiteX3" fmla="*/ 4344269 w 4344269"/>
                <a:gd name="connsiteY3" fmla="*/ 1864426 h 1864426"/>
                <a:gd name="connsiteX4" fmla="*/ 0 w 4344269"/>
                <a:gd name="connsiteY4" fmla="*/ 1864426 h 1864426"/>
                <a:gd name="connsiteX5" fmla="*/ 0 w 4344269"/>
                <a:gd name="connsiteY5" fmla="*/ 757992 h 1864426"/>
                <a:gd name="connsiteX6" fmla="*/ 44335 w 4344269"/>
                <a:gd name="connsiteY6" fmla="*/ 692672 h 1864426"/>
                <a:gd name="connsiteX7" fmla="*/ 643341 w 4344269"/>
                <a:gd name="connsiteY7" fmla="*/ 198637 h 1864426"/>
                <a:gd name="connsiteX8" fmla="*/ 1534229 w 4344269"/>
                <a:gd name="connsiteY8" fmla="*/ 0 h 1864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44269" h="1864426">
                  <a:moveTo>
                    <a:pt x="1534229" y="0"/>
                  </a:moveTo>
                  <a:cubicBezTo>
                    <a:pt x="2348791" y="0"/>
                    <a:pt x="3241791" y="411031"/>
                    <a:pt x="3900832" y="993186"/>
                  </a:cubicBezTo>
                  <a:cubicBezTo>
                    <a:pt x="4172353" y="1233206"/>
                    <a:pt x="4307792" y="1521978"/>
                    <a:pt x="4342982" y="1827795"/>
                  </a:cubicBezTo>
                  <a:lnTo>
                    <a:pt x="4344269" y="1864426"/>
                  </a:lnTo>
                  <a:lnTo>
                    <a:pt x="0" y="1864426"/>
                  </a:lnTo>
                  <a:lnTo>
                    <a:pt x="0" y="757992"/>
                  </a:lnTo>
                  <a:lnTo>
                    <a:pt x="44335" y="692672"/>
                  </a:lnTo>
                  <a:cubicBezTo>
                    <a:pt x="198283" y="490934"/>
                    <a:pt x="399086" y="321312"/>
                    <a:pt x="643341" y="198637"/>
                  </a:cubicBezTo>
                  <a:cubicBezTo>
                    <a:pt x="915766" y="61526"/>
                    <a:pt x="1219718" y="0"/>
                    <a:pt x="1534229" y="0"/>
                  </a:cubicBezTo>
                  <a:close/>
                </a:path>
              </a:pathLst>
            </a:custGeom>
            <a:solidFill>
              <a:srgbClr val="FFFFFF"/>
            </a:solidFill>
            <a:ln w="150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pic>
          <p:nvPicPr>
            <p:cNvPr id="8" name="Grafikk 7">
              <a:extLst>
                <a:ext uri="{FF2B5EF4-FFF2-40B4-BE49-F238E27FC236}">
                  <a16:creationId xmlns:a16="http://schemas.microsoft.com/office/drawing/2014/main" id="{E65FCD45-CF88-5F47-B1D6-842A2D00E8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41707" y="4756778"/>
              <a:ext cx="2745993" cy="2578243"/>
            </a:xfrm>
            <a:prstGeom prst="rect">
              <a:avLst/>
            </a:prstGeom>
          </p:spPr>
        </p:pic>
      </p:grpSp>
      <p:sp>
        <p:nvSpPr>
          <p:cNvPr id="11" name="Tittel 1">
            <a:extLst>
              <a:ext uri="{FF2B5EF4-FFF2-40B4-BE49-F238E27FC236}">
                <a16:creationId xmlns:a16="http://schemas.microsoft.com/office/drawing/2014/main" id="{66E543C8-816A-DE4C-B012-DDE484F89B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0" y="874712"/>
            <a:ext cx="5575300" cy="2387600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598DA538-F2DE-E544-8B72-E2752CCE00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0" y="3322637"/>
            <a:ext cx="5575300" cy="7629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D255C96C-01CA-5A41-BBA9-FD2316FC98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68400" y="4145862"/>
            <a:ext cx="4254500" cy="263526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b-NO" dirty="0"/>
              <a:t>Sikkerhetsmarkering</a:t>
            </a:r>
          </a:p>
        </p:txBody>
      </p:sp>
    </p:spTree>
    <p:extLst>
      <p:ext uri="{BB962C8B-B14F-4D97-AF65-F5344CB8AC3E}">
        <p14:creationId xmlns:p14="http://schemas.microsoft.com/office/powerpoint/2010/main" val="352027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710">
          <p15:clr>
            <a:srgbClr val="FBAE40"/>
          </p15:clr>
        </p15:guide>
        <p15:guide id="2" orient="horz" pos="23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E1AA005C-32A6-B74E-9B62-2D57828587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4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9688"/>
            <a:ext cx="12212320" cy="707136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320B759-63C2-29D8-20B8-84F523D735C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t="3912" b="11174"/>
          <a:stretch/>
        </p:blipFill>
        <p:spPr>
          <a:xfrm>
            <a:off x="-11875" y="-39688"/>
            <a:ext cx="12203874" cy="6897688"/>
          </a:xfrm>
          <a:prstGeom prst="rect">
            <a:avLst/>
          </a:prstGeom>
        </p:spPr>
      </p:pic>
      <p:grpSp>
        <p:nvGrpSpPr>
          <p:cNvPr id="4" name="Gruppe 3">
            <a:extLst>
              <a:ext uri="{FF2B5EF4-FFF2-40B4-BE49-F238E27FC236}">
                <a16:creationId xmlns:a16="http://schemas.microsoft.com/office/drawing/2014/main" id="{23806877-49B6-B14F-8887-9324DF1BD479}"/>
              </a:ext>
            </a:extLst>
          </p:cNvPr>
          <p:cNvGrpSpPr/>
          <p:nvPr userDrawn="1"/>
        </p:nvGrpSpPr>
        <p:grpSpPr>
          <a:xfrm>
            <a:off x="1" y="4756778"/>
            <a:ext cx="4344269" cy="2578243"/>
            <a:chOff x="1" y="4756778"/>
            <a:chExt cx="4344269" cy="2578243"/>
          </a:xfrm>
        </p:grpSpPr>
        <p:sp>
          <p:nvSpPr>
            <p:cNvPr id="1035" name="Friform 1034">
              <a:extLst>
                <a:ext uri="{FF2B5EF4-FFF2-40B4-BE49-F238E27FC236}">
                  <a16:creationId xmlns:a16="http://schemas.microsoft.com/office/drawing/2014/main" id="{601C99DD-7E4E-354A-9B67-78D84A6D0426}"/>
                </a:ext>
              </a:extLst>
            </p:cNvPr>
            <p:cNvSpPr/>
            <p:nvPr userDrawn="1"/>
          </p:nvSpPr>
          <p:spPr>
            <a:xfrm>
              <a:off x="1" y="4993574"/>
              <a:ext cx="4344269" cy="1864426"/>
            </a:xfrm>
            <a:custGeom>
              <a:avLst/>
              <a:gdLst>
                <a:gd name="connsiteX0" fmla="*/ 1534229 w 4344269"/>
                <a:gd name="connsiteY0" fmla="*/ 0 h 1864426"/>
                <a:gd name="connsiteX1" fmla="*/ 3900832 w 4344269"/>
                <a:gd name="connsiteY1" fmla="*/ 993186 h 1864426"/>
                <a:gd name="connsiteX2" fmla="*/ 4342982 w 4344269"/>
                <a:gd name="connsiteY2" fmla="*/ 1827795 h 1864426"/>
                <a:gd name="connsiteX3" fmla="*/ 4344269 w 4344269"/>
                <a:gd name="connsiteY3" fmla="*/ 1864426 h 1864426"/>
                <a:gd name="connsiteX4" fmla="*/ 0 w 4344269"/>
                <a:gd name="connsiteY4" fmla="*/ 1864426 h 1864426"/>
                <a:gd name="connsiteX5" fmla="*/ 0 w 4344269"/>
                <a:gd name="connsiteY5" fmla="*/ 757992 h 1864426"/>
                <a:gd name="connsiteX6" fmla="*/ 44335 w 4344269"/>
                <a:gd name="connsiteY6" fmla="*/ 692672 h 1864426"/>
                <a:gd name="connsiteX7" fmla="*/ 643341 w 4344269"/>
                <a:gd name="connsiteY7" fmla="*/ 198637 h 1864426"/>
                <a:gd name="connsiteX8" fmla="*/ 1534229 w 4344269"/>
                <a:gd name="connsiteY8" fmla="*/ 0 h 1864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44269" h="1864426">
                  <a:moveTo>
                    <a:pt x="1534229" y="0"/>
                  </a:moveTo>
                  <a:cubicBezTo>
                    <a:pt x="2348791" y="0"/>
                    <a:pt x="3241791" y="411031"/>
                    <a:pt x="3900832" y="993186"/>
                  </a:cubicBezTo>
                  <a:cubicBezTo>
                    <a:pt x="4172353" y="1233206"/>
                    <a:pt x="4307792" y="1521978"/>
                    <a:pt x="4342982" y="1827795"/>
                  </a:cubicBezTo>
                  <a:lnTo>
                    <a:pt x="4344269" y="1864426"/>
                  </a:lnTo>
                  <a:lnTo>
                    <a:pt x="0" y="1864426"/>
                  </a:lnTo>
                  <a:lnTo>
                    <a:pt x="0" y="757992"/>
                  </a:lnTo>
                  <a:lnTo>
                    <a:pt x="44335" y="692672"/>
                  </a:lnTo>
                  <a:cubicBezTo>
                    <a:pt x="198283" y="490934"/>
                    <a:pt x="399086" y="321312"/>
                    <a:pt x="643341" y="198637"/>
                  </a:cubicBezTo>
                  <a:cubicBezTo>
                    <a:pt x="915766" y="61526"/>
                    <a:pt x="1219718" y="0"/>
                    <a:pt x="1534229" y="0"/>
                  </a:cubicBezTo>
                  <a:close/>
                </a:path>
              </a:pathLst>
            </a:custGeom>
            <a:solidFill>
              <a:srgbClr val="FFFFFF"/>
            </a:solidFill>
            <a:ln w="150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pic>
          <p:nvPicPr>
            <p:cNvPr id="8" name="Grafikk 7">
              <a:extLst>
                <a:ext uri="{FF2B5EF4-FFF2-40B4-BE49-F238E27FC236}">
                  <a16:creationId xmlns:a16="http://schemas.microsoft.com/office/drawing/2014/main" id="{E65FCD45-CF88-5F47-B1D6-842A2D00E8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41707" y="4756778"/>
              <a:ext cx="2745993" cy="2578243"/>
            </a:xfrm>
            <a:prstGeom prst="rect">
              <a:avLst/>
            </a:prstGeom>
          </p:spPr>
        </p:pic>
      </p:grpSp>
      <p:sp>
        <p:nvSpPr>
          <p:cNvPr id="11" name="Tittel 1">
            <a:extLst>
              <a:ext uri="{FF2B5EF4-FFF2-40B4-BE49-F238E27FC236}">
                <a16:creationId xmlns:a16="http://schemas.microsoft.com/office/drawing/2014/main" id="{66E543C8-816A-DE4C-B012-DDE484F89B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0" y="874712"/>
            <a:ext cx="5575300" cy="2387600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598DA538-F2DE-E544-8B72-E2752CCE00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0" y="3322637"/>
            <a:ext cx="5575300" cy="762900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D255C96C-01CA-5A41-BBA9-FD2316FC98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68400" y="4145862"/>
            <a:ext cx="4254500" cy="263526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b-NO" dirty="0"/>
              <a:t>Sikkerhetsmarkering</a:t>
            </a:r>
          </a:p>
        </p:txBody>
      </p:sp>
    </p:spTree>
    <p:extLst>
      <p:ext uri="{BB962C8B-B14F-4D97-AF65-F5344CB8AC3E}">
        <p14:creationId xmlns:p14="http://schemas.microsoft.com/office/powerpoint/2010/main" val="851287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710">
          <p15:clr>
            <a:srgbClr val="FBAE40"/>
          </p15:clr>
        </p15:guide>
        <p15:guide id="2" orient="horz" pos="2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43A468F4-816A-E346-83D3-E815661A17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2480"/>
            <a:ext cx="946052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1C6B89E-E3A7-694E-A35F-A636D55C1F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002980"/>
            <a:ext cx="946052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6" name="Friform 25">
            <a:extLst>
              <a:ext uri="{FF2B5EF4-FFF2-40B4-BE49-F238E27FC236}">
                <a16:creationId xmlns:a16="http://schemas.microsoft.com/office/drawing/2014/main" id="{A18F2A8A-C6B4-BC44-83FF-93DBA1E7D7A4}"/>
              </a:ext>
            </a:extLst>
          </p:cNvPr>
          <p:cNvSpPr/>
          <p:nvPr/>
        </p:nvSpPr>
        <p:spPr>
          <a:xfrm>
            <a:off x="11071224" y="6354318"/>
            <a:ext cx="771217" cy="152095"/>
          </a:xfrm>
          <a:custGeom>
            <a:avLst/>
            <a:gdLst>
              <a:gd name="connsiteX0" fmla="*/ 199054 w 771217"/>
              <a:gd name="connsiteY0" fmla="*/ 61515 h 152095"/>
              <a:gd name="connsiteX1" fmla="*/ 173594 w 771217"/>
              <a:gd name="connsiteY1" fmla="*/ 97655 h 152095"/>
              <a:gd name="connsiteX2" fmla="*/ 199054 w 771217"/>
              <a:gd name="connsiteY2" fmla="*/ 133795 h 152095"/>
              <a:gd name="connsiteX3" fmla="*/ 224669 w 771217"/>
              <a:gd name="connsiteY3" fmla="*/ 97655 h 152095"/>
              <a:gd name="connsiteX4" fmla="*/ 199054 w 771217"/>
              <a:gd name="connsiteY4" fmla="*/ 61515 h 152095"/>
              <a:gd name="connsiteX5" fmla="*/ 676473 w 771217"/>
              <a:gd name="connsiteY5" fmla="*/ 46290 h 152095"/>
              <a:gd name="connsiteX6" fmla="*/ 709032 w 771217"/>
              <a:gd name="connsiteY6" fmla="*/ 46290 h 152095"/>
              <a:gd name="connsiteX7" fmla="*/ 771217 w 771217"/>
              <a:gd name="connsiteY7" fmla="*/ 103345 h 152095"/>
              <a:gd name="connsiteX8" fmla="*/ 771217 w 771217"/>
              <a:gd name="connsiteY8" fmla="*/ 147327 h 152095"/>
              <a:gd name="connsiteX9" fmla="*/ 769828 w 771217"/>
              <a:gd name="connsiteY9" fmla="*/ 148711 h 152095"/>
              <a:gd name="connsiteX10" fmla="*/ 703477 w 771217"/>
              <a:gd name="connsiteY10" fmla="*/ 148711 h 152095"/>
              <a:gd name="connsiteX11" fmla="*/ 664129 w 771217"/>
              <a:gd name="connsiteY11" fmla="*/ 117185 h 152095"/>
              <a:gd name="connsiteX12" fmla="*/ 705328 w 771217"/>
              <a:gd name="connsiteY12" fmla="*/ 85813 h 152095"/>
              <a:gd name="connsiteX13" fmla="*/ 707952 w 771217"/>
              <a:gd name="connsiteY13" fmla="*/ 85813 h 152095"/>
              <a:gd name="connsiteX14" fmla="*/ 726931 w 771217"/>
              <a:gd name="connsiteY14" fmla="*/ 103498 h 152095"/>
              <a:gd name="connsiteX15" fmla="*/ 726931 w 771217"/>
              <a:gd name="connsiteY15" fmla="*/ 104729 h 152095"/>
              <a:gd name="connsiteX16" fmla="*/ 708415 w 771217"/>
              <a:gd name="connsiteY16" fmla="*/ 104729 h 152095"/>
              <a:gd name="connsiteX17" fmla="*/ 695762 w 771217"/>
              <a:gd name="connsiteY17" fmla="*/ 116716 h 152095"/>
              <a:gd name="connsiteX18" fmla="*/ 695762 w 771217"/>
              <a:gd name="connsiteY18" fmla="*/ 116724 h 152095"/>
              <a:gd name="connsiteX19" fmla="*/ 695762 w 771217"/>
              <a:gd name="connsiteY19" fmla="*/ 117185 h 152095"/>
              <a:gd name="connsiteX20" fmla="*/ 708415 w 771217"/>
              <a:gd name="connsiteY20" fmla="*/ 129796 h 152095"/>
              <a:gd name="connsiteX21" fmla="*/ 740664 w 771217"/>
              <a:gd name="connsiteY21" fmla="*/ 129796 h 152095"/>
              <a:gd name="connsiteX22" fmla="*/ 740664 w 771217"/>
              <a:gd name="connsiteY22" fmla="*/ 99346 h 152095"/>
              <a:gd name="connsiteX23" fmla="*/ 707026 w 771217"/>
              <a:gd name="connsiteY23" fmla="*/ 65821 h 152095"/>
              <a:gd name="connsiteX24" fmla="*/ 696224 w 771217"/>
              <a:gd name="connsiteY24" fmla="*/ 65821 h 152095"/>
              <a:gd name="connsiteX25" fmla="*/ 676475 w 771217"/>
              <a:gd name="connsiteY25" fmla="*/ 46662 h 152095"/>
              <a:gd name="connsiteX26" fmla="*/ 676473 w 771217"/>
              <a:gd name="connsiteY26" fmla="*/ 46598 h 152095"/>
              <a:gd name="connsiteX27" fmla="*/ 476154 w 771217"/>
              <a:gd name="connsiteY27" fmla="*/ 46290 h 152095"/>
              <a:gd name="connsiteX28" fmla="*/ 476185 w 771217"/>
              <a:gd name="connsiteY28" fmla="*/ 46290 h 152095"/>
              <a:gd name="connsiteX29" fmla="*/ 481740 w 771217"/>
              <a:gd name="connsiteY29" fmla="*/ 46290 h 152095"/>
              <a:gd name="connsiteX30" fmla="*/ 482975 w 771217"/>
              <a:gd name="connsiteY30" fmla="*/ 47520 h 152095"/>
              <a:gd name="connsiteX31" fmla="*/ 482975 w 771217"/>
              <a:gd name="connsiteY31" fmla="*/ 107650 h 152095"/>
              <a:gd name="connsiteX32" fmla="*/ 504732 w 771217"/>
              <a:gd name="connsiteY32" fmla="*/ 132256 h 152095"/>
              <a:gd name="connsiteX33" fmla="*/ 526489 w 771217"/>
              <a:gd name="connsiteY33" fmla="*/ 107650 h 152095"/>
              <a:gd name="connsiteX34" fmla="*/ 526489 w 771217"/>
              <a:gd name="connsiteY34" fmla="*/ 69665 h 152095"/>
              <a:gd name="connsiteX35" fmla="*/ 549912 w 771217"/>
              <a:gd name="connsiteY35" fmla="*/ 46290 h 152095"/>
              <a:gd name="connsiteX36" fmla="*/ 549943 w 771217"/>
              <a:gd name="connsiteY36" fmla="*/ 46290 h 152095"/>
              <a:gd name="connsiteX37" fmla="*/ 555498 w 771217"/>
              <a:gd name="connsiteY37" fmla="*/ 46290 h 152095"/>
              <a:gd name="connsiteX38" fmla="*/ 556887 w 771217"/>
              <a:gd name="connsiteY38" fmla="*/ 47366 h 152095"/>
              <a:gd name="connsiteX39" fmla="*/ 556887 w 771217"/>
              <a:gd name="connsiteY39" fmla="*/ 105190 h 152095"/>
              <a:gd name="connsiteX40" fmla="*/ 504886 w 771217"/>
              <a:gd name="connsiteY40" fmla="*/ 152095 h 152095"/>
              <a:gd name="connsiteX41" fmla="*/ 452731 w 771217"/>
              <a:gd name="connsiteY41" fmla="*/ 105344 h 152095"/>
              <a:gd name="connsiteX42" fmla="*/ 452731 w 771217"/>
              <a:gd name="connsiteY42" fmla="*/ 69665 h 152095"/>
              <a:gd name="connsiteX43" fmla="*/ 476154 w 771217"/>
              <a:gd name="connsiteY43" fmla="*/ 46290 h 152095"/>
              <a:gd name="connsiteX44" fmla="*/ 330522 w 771217"/>
              <a:gd name="connsiteY44" fmla="*/ 43829 h 152095"/>
              <a:gd name="connsiteX45" fmla="*/ 353822 w 771217"/>
              <a:gd name="connsiteY45" fmla="*/ 64283 h 152095"/>
              <a:gd name="connsiteX46" fmla="*/ 331139 w 771217"/>
              <a:gd name="connsiteY46" fmla="*/ 64129 h 152095"/>
              <a:gd name="connsiteX47" fmla="*/ 309382 w 771217"/>
              <a:gd name="connsiteY47" fmla="*/ 90580 h 152095"/>
              <a:gd name="connsiteX48" fmla="*/ 309382 w 771217"/>
              <a:gd name="connsiteY48" fmla="*/ 147481 h 152095"/>
              <a:gd name="connsiteX49" fmla="*/ 308179 w 771217"/>
              <a:gd name="connsiteY49" fmla="*/ 148711 h 152095"/>
              <a:gd name="connsiteX50" fmla="*/ 308148 w 771217"/>
              <a:gd name="connsiteY50" fmla="*/ 148711 h 152095"/>
              <a:gd name="connsiteX51" fmla="*/ 301821 w 771217"/>
              <a:gd name="connsiteY51" fmla="*/ 148711 h 152095"/>
              <a:gd name="connsiteX52" fmla="*/ 278367 w 771217"/>
              <a:gd name="connsiteY52" fmla="*/ 125366 h 152095"/>
              <a:gd name="connsiteX53" fmla="*/ 278367 w 771217"/>
              <a:gd name="connsiteY53" fmla="*/ 125336 h 152095"/>
              <a:gd name="connsiteX54" fmla="*/ 278367 w 771217"/>
              <a:gd name="connsiteY54" fmla="*/ 47674 h 152095"/>
              <a:gd name="connsiteX55" fmla="*/ 279601 w 771217"/>
              <a:gd name="connsiteY55" fmla="*/ 46443 h 152095"/>
              <a:gd name="connsiteX56" fmla="*/ 285928 w 771217"/>
              <a:gd name="connsiteY56" fmla="*/ 46443 h 152095"/>
              <a:gd name="connsiteX57" fmla="*/ 304907 w 771217"/>
              <a:gd name="connsiteY57" fmla="*/ 56132 h 152095"/>
              <a:gd name="connsiteX58" fmla="*/ 330522 w 771217"/>
              <a:gd name="connsiteY58" fmla="*/ 43829 h 152095"/>
              <a:gd name="connsiteX59" fmla="*/ 636817 w 771217"/>
              <a:gd name="connsiteY59" fmla="*/ 43676 h 152095"/>
              <a:gd name="connsiteX60" fmla="*/ 661043 w 771217"/>
              <a:gd name="connsiteY60" fmla="*/ 64130 h 152095"/>
              <a:gd name="connsiteX61" fmla="*/ 637434 w 771217"/>
              <a:gd name="connsiteY61" fmla="*/ 64130 h 152095"/>
              <a:gd name="connsiteX62" fmla="*/ 615677 w 771217"/>
              <a:gd name="connsiteY62" fmla="*/ 90581 h 152095"/>
              <a:gd name="connsiteX63" fmla="*/ 615677 w 771217"/>
              <a:gd name="connsiteY63" fmla="*/ 147481 h 152095"/>
              <a:gd name="connsiteX64" fmla="*/ 614473 w 771217"/>
              <a:gd name="connsiteY64" fmla="*/ 148712 h 152095"/>
              <a:gd name="connsiteX65" fmla="*/ 614443 w 771217"/>
              <a:gd name="connsiteY65" fmla="*/ 148712 h 152095"/>
              <a:gd name="connsiteX66" fmla="*/ 608270 w 771217"/>
              <a:gd name="connsiteY66" fmla="*/ 148712 h 152095"/>
              <a:gd name="connsiteX67" fmla="*/ 584816 w 771217"/>
              <a:gd name="connsiteY67" fmla="*/ 125367 h 152095"/>
              <a:gd name="connsiteX68" fmla="*/ 584816 w 771217"/>
              <a:gd name="connsiteY68" fmla="*/ 125336 h 152095"/>
              <a:gd name="connsiteX69" fmla="*/ 584816 w 771217"/>
              <a:gd name="connsiteY69" fmla="*/ 47674 h 152095"/>
              <a:gd name="connsiteX70" fmla="*/ 586050 w 771217"/>
              <a:gd name="connsiteY70" fmla="*/ 46444 h 152095"/>
              <a:gd name="connsiteX71" fmla="*/ 592377 w 771217"/>
              <a:gd name="connsiteY71" fmla="*/ 46444 h 152095"/>
              <a:gd name="connsiteX72" fmla="*/ 611202 w 771217"/>
              <a:gd name="connsiteY72" fmla="*/ 55979 h 152095"/>
              <a:gd name="connsiteX73" fmla="*/ 636817 w 771217"/>
              <a:gd name="connsiteY73" fmla="*/ 43676 h 152095"/>
              <a:gd name="connsiteX74" fmla="*/ 199054 w 771217"/>
              <a:gd name="connsiteY74" fmla="*/ 43061 h 152095"/>
              <a:gd name="connsiteX75" fmla="*/ 257227 w 771217"/>
              <a:gd name="connsiteY75" fmla="*/ 97501 h 152095"/>
              <a:gd name="connsiteX76" fmla="*/ 199054 w 771217"/>
              <a:gd name="connsiteY76" fmla="*/ 151941 h 152095"/>
              <a:gd name="connsiteX77" fmla="*/ 141190 w 771217"/>
              <a:gd name="connsiteY77" fmla="*/ 97655 h 152095"/>
              <a:gd name="connsiteX78" fmla="*/ 199054 w 771217"/>
              <a:gd name="connsiteY78" fmla="*/ 43061 h 152095"/>
              <a:gd name="connsiteX79" fmla="*/ 1203 w 771217"/>
              <a:gd name="connsiteY79" fmla="*/ 14764 h 152095"/>
              <a:gd name="connsiteX80" fmla="*/ 1235 w 771217"/>
              <a:gd name="connsiteY80" fmla="*/ 14764 h 152095"/>
              <a:gd name="connsiteX81" fmla="*/ 42125 w 771217"/>
              <a:gd name="connsiteY81" fmla="*/ 14764 h 152095"/>
              <a:gd name="connsiteX82" fmla="*/ 120667 w 771217"/>
              <a:gd name="connsiteY82" fmla="*/ 93809 h 152095"/>
              <a:gd name="connsiteX83" fmla="*/ 120667 w 771217"/>
              <a:gd name="connsiteY83" fmla="*/ 125336 h 152095"/>
              <a:gd name="connsiteX84" fmla="*/ 97490 w 771217"/>
              <a:gd name="connsiteY84" fmla="*/ 148711 h 152095"/>
              <a:gd name="connsiteX85" fmla="*/ 97367 w 771217"/>
              <a:gd name="connsiteY85" fmla="*/ 148711 h 152095"/>
              <a:gd name="connsiteX86" fmla="*/ 97058 w 771217"/>
              <a:gd name="connsiteY86" fmla="*/ 148711 h 152095"/>
              <a:gd name="connsiteX87" fmla="*/ 89497 w 771217"/>
              <a:gd name="connsiteY87" fmla="*/ 148711 h 152095"/>
              <a:gd name="connsiteX88" fmla="*/ 88263 w 771217"/>
              <a:gd name="connsiteY88" fmla="*/ 147512 h 152095"/>
              <a:gd name="connsiteX89" fmla="*/ 88263 w 771217"/>
              <a:gd name="connsiteY89" fmla="*/ 147481 h 152095"/>
              <a:gd name="connsiteX90" fmla="*/ 88263 w 771217"/>
              <a:gd name="connsiteY90" fmla="*/ 88888 h 152095"/>
              <a:gd name="connsiteX91" fmla="*/ 32250 w 771217"/>
              <a:gd name="connsiteY91" fmla="*/ 34294 h 152095"/>
              <a:gd name="connsiteX92" fmla="*/ 32250 w 771217"/>
              <a:gd name="connsiteY92" fmla="*/ 125182 h 152095"/>
              <a:gd name="connsiteX93" fmla="*/ 8826 w 771217"/>
              <a:gd name="connsiteY93" fmla="*/ 148557 h 152095"/>
              <a:gd name="connsiteX94" fmla="*/ 8795 w 771217"/>
              <a:gd name="connsiteY94" fmla="*/ 148557 h 152095"/>
              <a:gd name="connsiteX95" fmla="*/ 1235 w 771217"/>
              <a:gd name="connsiteY95" fmla="*/ 148557 h 152095"/>
              <a:gd name="connsiteX96" fmla="*/ 0 w 771217"/>
              <a:gd name="connsiteY96" fmla="*/ 147358 h 152095"/>
              <a:gd name="connsiteX97" fmla="*/ 0 w 771217"/>
              <a:gd name="connsiteY97" fmla="*/ 147327 h 152095"/>
              <a:gd name="connsiteX98" fmla="*/ 0 w 771217"/>
              <a:gd name="connsiteY98" fmla="*/ 15994 h 152095"/>
              <a:gd name="connsiteX99" fmla="*/ 1203 w 771217"/>
              <a:gd name="connsiteY99" fmla="*/ 14764 h 152095"/>
              <a:gd name="connsiteX100" fmla="*/ 411347 w 771217"/>
              <a:gd name="connsiteY100" fmla="*/ 0 h 152095"/>
              <a:gd name="connsiteX101" fmla="*/ 411378 w 771217"/>
              <a:gd name="connsiteY101" fmla="*/ 0 h 152095"/>
              <a:gd name="connsiteX102" fmla="*/ 417704 w 771217"/>
              <a:gd name="connsiteY102" fmla="*/ 0 h 152095"/>
              <a:gd name="connsiteX103" fmla="*/ 418939 w 771217"/>
              <a:gd name="connsiteY103" fmla="*/ 1230 h 152095"/>
              <a:gd name="connsiteX104" fmla="*/ 418939 w 771217"/>
              <a:gd name="connsiteY104" fmla="*/ 46290 h 152095"/>
              <a:gd name="connsiteX105" fmla="*/ 442702 w 771217"/>
              <a:gd name="connsiteY105" fmla="*/ 46290 h 152095"/>
              <a:gd name="connsiteX106" fmla="*/ 422796 w 771217"/>
              <a:gd name="connsiteY106" fmla="*/ 64282 h 152095"/>
              <a:gd name="connsiteX107" fmla="*/ 418784 w 771217"/>
              <a:gd name="connsiteY107" fmla="*/ 64282 h 152095"/>
              <a:gd name="connsiteX108" fmla="*/ 418784 w 771217"/>
              <a:gd name="connsiteY108" fmla="*/ 125335 h 152095"/>
              <a:gd name="connsiteX109" fmla="*/ 395361 w 771217"/>
              <a:gd name="connsiteY109" fmla="*/ 148711 h 152095"/>
              <a:gd name="connsiteX110" fmla="*/ 395330 w 771217"/>
              <a:gd name="connsiteY110" fmla="*/ 148711 h 152095"/>
              <a:gd name="connsiteX111" fmla="*/ 389158 w 771217"/>
              <a:gd name="connsiteY111" fmla="*/ 148711 h 152095"/>
              <a:gd name="connsiteX112" fmla="*/ 387923 w 771217"/>
              <a:gd name="connsiteY112" fmla="*/ 147512 h 152095"/>
              <a:gd name="connsiteX113" fmla="*/ 387923 w 771217"/>
              <a:gd name="connsiteY113" fmla="*/ 147481 h 152095"/>
              <a:gd name="connsiteX114" fmla="*/ 387923 w 771217"/>
              <a:gd name="connsiteY114" fmla="*/ 64282 h 152095"/>
              <a:gd name="connsiteX115" fmla="*/ 364006 w 771217"/>
              <a:gd name="connsiteY115" fmla="*/ 64282 h 152095"/>
              <a:gd name="connsiteX116" fmla="*/ 383911 w 771217"/>
              <a:gd name="connsiteY116" fmla="*/ 46443 h 152095"/>
              <a:gd name="connsiteX117" fmla="*/ 387923 w 771217"/>
              <a:gd name="connsiteY117" fmla="*/ 46443 h 152095"/>
              <a:gd name="connsiteX118" fmla="*/ 387923 w 771217"/>
              <a:gd name="connsiteY118" fmla="*/ 23375 h 152095"/>
              <a:gd name="connsiteX119" fmla="*/ 411347 w 771217"/>
              <a:gd name="connsiteY119" fmla="*/ 0 h 152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771217" h="152095">
                <a:moveTo>
                  <a:pt x="199054" y="61515"/>
                </a:moveTo>
                <a:cubicBezTo>
                  <a:pt x="185013" y="61515"/>
                  <a:pt x="173594" y="77663"/>
                  <a:pt x="173594" y="97655"/>
                </a:cubicBezTo>
                <a:cubicBezTo>
                  <a:pt x="173594" y="117647"/>
                  <a:pt x="185013" y="133795"/>
                  <a:pt x="199054" y="133795"/>
                </a:cubicBezTo>
                <a:cubicBezTo>
                  <a:pt x="213096" y="133795"/>
                  <a:pt x="224669" y="117647"/>
                  <a:pt x="224669" y="97655"/>
                </a:cubicBezTo>
                <a:cubicBezTo>
                  <a:pt x="224669" y="77663"/>
                  <a:pt x="213250" y="61515"/>
                  <a:pt x="199054" y="61515"/>
                </a:cubicBezTo>
                <a:close/>
                <a:moveTo>
                  <a:pt x="676473" y="46290"/>
                </a:moveTo>
                <a:lnTo>
                  <a:pt x="709032" y="46290"/>
                </a:lnTo>
                <a:cubicBezTo>
                  <a:pt x="752546" y="46290"/>
                  <a:pt x="771217" y="68128"/>
                  <a:pt x="771217" y="103345"/>
                </a:cubicBezTo>
                <a:lnTo>
                  <a:pt x="771217" y="147327"/>
                </a:lnTo>
                <a:cubicBezTo>
                  <a:pt x="771062" y="148096"/>
                  <a:pt x="770599" y="148711"/>
                  <a:pt x="769828" y="148711"/>
                </a:cubicBezTo>
                <a:lnTo>
                  <a:pt x="703477" y="148711"/>
                </a:lnTo>
                <a:cubicBezTo>
                  <a:pt x="681257" y="148711"/>
                  <a:pt x="664129" y="134563"/>
                  <a:pt x="664129" y="117185"/>
                </a:cubicBezTo>
                <a:cubicBezTo>
                  <a:pt x="664129" y="99807"/>
                  <a:pt x="681565" y="85813"/>
                  <a:pt x="705328" y="85813"/>
                </a:cubicBezTo>
                <a:lnTo>
                  <a:pt x="707952" y="85813"/>
                </a:lnTo>
                <a:cubicBezTo>
                  <a:pt x="718063" y="85552"/>
                  <a:pt x="726513" y="93426"/>
                  <a:pt x="726931" y="103498"/>
                </a:cubicBezTo>
                <a:lnTo>
                  <a:pt x="726931" y="104729"/>
                </a:lnTo>
                <a:lnTo>
                  <a:pt x="708415" y="104729"/>
                </a:lnTo>
                <a:cubicBezTo>
                  <a:pt x="701599" y="104557"/>
                  <a:pt x="695934" y="109924"/>
                  <a:pt x="695762" y="116716"/>
                </a:cubicBezTo>
                <a:cubicBezTo>
                  <a:pt x="695762" y="116719"/>
                  <a:pt x="695762" y="116721"/>
                  <a:pt x="695762" y="116724"/>
                </a:cubicBezTo>
                <a:lnTo>
                  <a:pt x="695762" y="117185"/>
                </a:lnTo>
                <a:cubicBezTo>
                  <a:pt x="695795" y="124136"/>
                  <a:pt x="701440" y="129762"/>
                  <a:pt x="708415" y="129796"/>
                </a:cubicBezTo>
                <a:lnTo>
                  <a:pt x="740664" y="129796"/>
                </a:lnTo>
                <a:lnTo>
                  <a:pt x="740664" y="99346"/>
                </a:lnTo>
                <a:cubicBezTo>
                  <a:pt x="740664" y="78585"/>
                  <a:pt x="729246" y="65821"/>
                  <a:pt x="707026" y="65821"/>
                </a:cubicBezTo>
                <a:lnTo>
                  <a:pt x="696224" y="65821"/>
                </a:lnTo>
                <a:cubicBezTo>
                  <a:pt x="685462" y="65966"/>
                  <a:pt x="676620" y="57388"/>
                  <a:pt x="676475" y="46662"/>
                </a:cubicBezTo>
                <a:cubicBezTo>
                  <a:pt x="676473" y="46640"/>
                  <a:pt x="676473" y="46619"/>
                  <a:pt x="676473" y="46598"/>
                </a:cubicBezTo>
                <a:close/>
                <a:moveTo>
                  <a:pt x="476154" y="46290"/>
                </a:moveTo>
                <a:cubicBezTo>
                  <a:pt x="476165" y="46290"/>
                  <a:pt x="476175" y="46290"/>
                  <a:pt x="476185" y="46290"/>
                </a:cubicBezTo>
                <a:lnTo>
                  <a:pt x="481740" y="46290"/>
                </a:lnTo>
                <a:cubicBezTo>
                  <a:pt x="482402" y="46334"/>
                  <a:pt x="482930" y="46860"/>
                  <a:pt x="482975" y="47520"/>
                </a:cubicBezTo>
                <a:lnTo>
                  <a:pt x="482975" y="107650"/>
                </a:lnTo>
                <a:cubicBezTo>
                  <a:pt x="482975" y="121645"/>
                  <a:pt x="492696" y="132256"/>
                  <a:pt x="504732" y="132256"/>
                </a:cubicBezTo>
                <a:cubicBezTo>
                  <a:pt x="516768" y="132256"/>
                  <a:pt x="526489" y="121491"/>
                  <a:pt x="526489" y="107650"/>
                </a:cubicBezTo>
                <a:lnTo>
                  <a:pt x="526489" y="69665"/>
                </a:lnTo>
                <a:cubicBezTo>
                  <a:pt x="526480" y="56764"/>
                  <a:pt x="536968" y="46298"/>
                  <a:pt x="549912" y="46290"/>
                </a:cubicBezTo>
                <a:cubicBezTo>
                  <a:pt x="549923" y="46290"/>
                  <a:pt x="549932" y="46290"/>
                  <a:pt x="549943" y="46290"/>
                </a:cubicBezTo>
                <a:lnTo>
                  <a:pt x="555498" y="46290"/>
                </a:lnTo>
                <a:cubicBezTo>
                  <a:pt x="556115" y="46136"/>
                  <a:pt x="556733" y="46751"/>
                  <a:pt x="556887" y="47366"/>
                </a:cubicBezTo>
                <a:lnTo>
                  <a:pt x="556887" y="105190"/>
                </a:lnTo>
                <a:cubicBezTo>
                  <a:pt x="557041" y="131795"/>
                  <a:pt x="533741" y="152095"/>
                  <a:pt x="504886" y="152095"/>
                </a:cubicBezTo>
                <a:cubicBezTo>
                  <a:pt x="476031" y="152095"/>
                  <a:pt x="452731" y="131641"/>
                  <a:pt x="452731" y="105344"/>
                </a:cubicBezTo>
                <a:lnTo>
                  <a:pt x="452731" y="69665"/>
                </a:lnTo>
                <a:cubicBezTo>
                  <a:pt x="452722" y="56764"/>
                  <a:pt x="463210" y="46298"/>
                  <a:pt x="476154" y="46290"/>
                </a:cubicBezTo>
                <a:close/>
                <a:moveTo>
                  <a:pt x="330522" y="43829"/>
                </a:moveTo>
                <a:cubicBezTo>
                  <a:pt x="347804" y="43829"/>
                  <a:pt x="353822" y="53210"/>
                  <a:pt x="353822" y="64283"/>
                </a:cubicBezTo>
                <a:lnTo>
                  <a:pt x="331139" y="64129"/>
                </a:lnTo>
                <a:cubicBezTo>
                  <a:pt x="313857" y="64129"/>
                  <a:pt x="309382" y="71664"/>
                  <a:pt x="309382" y="90580"/>
                </a:cubicBezTo>
                <a:lnTo>
                  <a:pt x="309382" y="147481"/>
                </a:lnTo>
                <a:cubicBezTo>
                  <a:pt x="309392" y="148152"/>
                  <a:pt x="308852" y="148702"/>
                  <a:pt x="308179" y="148711"/>
                </a:cubicBezTo>
                <a:cubicBezTo>
                  <a:pt x="308168" y="148711"/>
                  <a:pt x="308159" y="148711"/>
                  <a:pt x="308148" y="148711"/>
                </a:cubicBezTo>
                <a:lnTo>
                  <a:pt x="301821" y="148711"/>
                </a:lnTo>
                <a:cubicBezTo>
                  <a:pt x="288877" y="148719"/>
                  <a:pt x="278376" y="138268"/>
                  <a:pt x="278367" y="125366"/>
                </a:cubicBezTo>
                <a:cubicBezTo>
                  <a:pt x="278367" y="125356"/>
                  <a:pt x="278367" y="125346"/>
                  <a:pt x="278367" y="125336"/>
                </a:cubicBezTo>
                <a:lnTo>
                  <a:pt x="278367" y="47674"/>
                </a:lnTo>
                <a:cubicBezTo>
                  <a:pt x="278412" y="47014"/>
                  <a:pt x="278939" y="46488"/>
                  <a:pt x="279601" y="46443"/>
                </a:cubicBezTo>
                <a:lnTo>
                  <a:pt x="285928" y="46443"/>
                </a:lnTo>
                <a:cubicBezTo>
                  <a:pt x="293455" y="46421"/>
                  <a:pt x="300527" y="50031"/>
                  <a:pt x="304907" y="56132"/>
                </a:cubicBezTo>
                <a:cubicBezTo>
                  <a:pt x="311388" y="47827"/>
                  <a:pt x="316326" y="43829"/>
                  <a:pt x="330522" y="43829"/>
                </a:cubicBezTo>
                <a:close/>
                <a:moveTo>
                  <a:pt x="636817" y="43676"/>
                </a:moveTo>
                <a:cubicBezTo>
                  <a:pt x="654099" y="43676"/>
                  <a:pt x="661043" y="53057"/>
                  <a:pt x="661043" y="64130"/>
                </a:cubicBezTo>
                <a:lnTo>
                  <a:pt x="637434" y="64130"/>
                </a:lnTo>
                <a:cubicBezTo>
                  <a:pt x="620306" y="64130"/>
                  <a:pt x="615677" y="71665"/>
                  <a:pt x="615677" y="90581"/>
                </a:cubicBezTo>
                <a:lnTo>
                  <a:pt x="615677" y="147481"/>
                </a:lnTo>
                <a:cubicBezTo>
                  <a:pt x="615686" y="148152"/>
                  <a:pt x="615146" y="148703"/>
                  <a:pt x="614473" y="148712"/>
                </a:cubicBezTo>
                <a:cubicBezTo>
                  <a:pt x="614463" y="148712"/>
                  <a:pt x="614453" y="148712"/>
                  <a:pt x="614443" y="148712"/>
                </a:cubicBezTo>
                <a:lnTo>
                  <a:pt x="608270" y="148712"/>
                </a:lnTo>
                <a:cubicBezTo>
                  <a:pt x="595326" y="148720"/>
                  <a:pt x="584825" y="138268"/>
                  <a:pt x="584816" y="125367"/>
                </a:cubicBezTo>
                <a:cubicBezTo>
                  <a:pt x="584816" y="125357"/>
                  <a:pt x="584816" y="125347"/>
                  <a:pt x="584816" y="125336"/>
                </a:cubicBezTo>
                <a:lnTo>
                  <a:pt x="584816" y="47674"/>
                </a:lnTo>
                <a:cubicBezTo>
                  <a:pt x="584861" y="47014"/>
                  <a:pt x="585388" y="46489"/>
                  <a:pt x="586050" y="46444"/>
                </a:cubicBezTo>
                <a:lnTo>
                  <a:pt x="592377" y="46444"/>
                </a:lnTo>
                <a:cubicBezTo>
                  <a:pt x="599805" y="46502"/>
                  <a:pt x="606777" y="50033"/>
                  <a:pt x="611202" y="55979"/>
                </a:cubicBezTo>
                <a:cubicBezTo>
                  <a:pt x="617683" y="47674"/>
                  <a:pt x="622621" y="43676"/>
                  <a:pt x="636817" y="43676"/>
                </a:cubicBezTo>
                <a:close/>
                <a:moveTo>
                  <a:pt x="199054" y="43061"/>
                </a:moveTo>
                <a:cubicBezTo>
                  <a:pt x="231613" y="43061"/>
                  <a:pt x="257227" y="67667"/>
                  <a:pt x="257227" y="97501"/>
                </a:cubicBezTo>
                <a:cubicBezTo>
                  <a:pt x="257227" y="127336"/>
                  <a:pt x="231767" y="151941"/>
                  <a:pt x="199054" y="151941"/>
                </a:cubicBezTo>
                <a:cubicBezTo>
                  <a:pt x="166496" y="151941"/>
                  <a:pt x="141190" y="127643"/>
                  <a:pt x="141190" y="97655"/>
                </a:cubicBezTo>
                <a:cubicBezTo>
                  <a:pt x="141190" y="67667"/>
                  <a:pt x="166496" y="43061"/>
                  <a:pt x="199054" y="43061"/>
                </a:cubicBezTo>
                <a:close/>
                <a:moveTo>
                  <a:pt x="1203" y="14764"/>
                </a:moveTo>
                <a:cubicBezTo>
                  <a:pt x="1214" y="14763"/>
                  <a:pt x="1224" y="14763"/>
                  <a:pt x="1235" y="14764"/>
                </a:cubicBezTo>
                <a:lnTo>
                  <a:pt x="42125" y="14764"/>
                </a:lnTo>
                <a:cubicBezTo>
                  <a:pt x="87645" y="14610"/>
                  <a:pt x="120667" y="47674"/>
                  <a:pt x="120667" y="93809"/>
                </a:cubicBezTo>
                <a:lnTo>
                  <a:pt x="120667" y="125336"/>
                </a:lnTo>
                <a:cubicBezTo>
                  <a:pt x="120743" y="138169"/>
                  <a:pt x="110367" y="148634"/>
                  <a:pt x="97490" y="148711"/>
                </a:cubicBezTo>
                <a:cubicBezTo>
                  <a:pt x="97449" y="148711"/>
                  <a:pt x="97408" y="148711"/>
                  <a:pt x="97367" y="148711"/>
                </a:cubicBezTo>
                <a:lnTo>
                  <a:pt x="97058" y="148711"/>
                </a:lnTo>
                <a:lnTo>
                  <a:pt x="89497" y="148711"/>
                </a:lnTo>
                <a:cubicBezTo>
                  <a:pt x="88824" y="148720"/>
                  <a:pt x="88271" y="148183"/>
                  <a:pt x="88263" y="147512"/>
                </a:cubicBezTo>
                <a:cubicBezTo>
                  <a:pt x="88262" y="147501"/>
                  <a:pt x="88262" y="147491"/>
                  <a:pt x="88263" y="147481"/>
                </a:cubicBezTo>
                <a:lnTo>
                  <a:pt x="88263" y="88888"/>
                </a:lnTo>
                <a:cubicBezTo>
                  <a:pt x="88263" y="56901"/>
                  <a:pt x="68666" y="34294"/>
                  <a:pt x="32250" y="34294"/>
                </a:cubicBezTo>
                <a:lnTo>
                  <a:pt x="32250" y="125182"/>
                </a:lnTo>
                <a:cubicBezTo>
                  <a:pt x="32258" y="138083"/>
                  <a:pt x="21771" y="148549"/>
                  <a:pt x="8826" y="148557"/>
                </a:cubicBezTo>
                <a:cubicBezTo>
                  <a:pt x="8816" y="148557"/>
                  <a:pt x="8806" y="148557"/>
                  <a:pt x="8795" y="148557"/>
                </a:cubicBezTo>
                <a:lnTo>
                  <a:pt x="1235" y="148557"/>
                </a:lnTo>
                <a:cubicBezTo>
                  <a:pt x="561" y="148566"/>
                  <a:pt x="9" y="148029"/>
                  <a:pt x="0" y="147358"/>
                </a:cubicBezTo>
                <a:cubicBezTo>
                  <a:pt x="0" y="147348"/>
                  <a:pt x="0" y="147337"/>
                  <a:pt x="0" y="147327"/>
                </a:cubicBezTo>
                <a:lnTo>
                  <a:pt x="0" y="15994"/>
                </a:lnTo>
                <a:cubicBezTo>
                  <a:pt x="-8" y="15323"/>
                  <a:pt x="530" y="14772"/>
                  <a:pt x="1203" y="14764"/>
                </a:cubicBezTo>
                <a:close/>
                <a:moveTo>
                  <a:pt x="411347" y="0"/>
                </a:moveTo>
                <a:cubicBezTo>
                  <a:pt x="411358" y="0"/>
                  <a:pt x="411367" y="0"/>
                  <a:pt x="411378" y="0"/>
                </a:cubicBezTo>
                <a:lnTo>
                  <a:pt x="417704" y="0"/>
                </a:lnTo>
                <a:cubicBezTo>
                  <a:pt x="418366" y="45"/>
                  <a:pt x="418894" y="570"/>
                  <a:pt x="418939" y="1230"/>
                </a:cubicBezTo>
                <a:lnTo>
                  <a:pt x="418939" y="46290"/>
                </a:lnTo>
                <a:lnTo>
                  <a:pt x="442702" y="46290"/>
                </a:lnTo>
                <a:cubicBezTo>
                  <a:pt x="442702" y="57362"/>
                  <a:pt x="433752" y="64282"/>
                  <a:pt x="422796" y="64282"/>
                </a:cubicBezTo>
                <a:lnTo>
                  <a:pt x="418784" y="64282"/>
                </a:lnTo>
                <a:lnTo>
                  <a:pt x="418784" y="125335"/>
                </a:lnTo>
                <a:cubicBezTo>
                  <a:pt x="418794" y="138237"/>
                  <a:pt x="408305" y="148702"/>
                  <a:pt x="395361" y="148711"/>
                </a:cubicBezTo>
                <a:cubicBezTo>
                  <a:pt x="395350" y="148711"/>
                  <a:pt x="395341" y="148711"/>
                  <a:pt x="395330" y="148711"/>
                </a:cubicBezTo>
                <a:lnTo>
                  <a:pt x="389158" y="148711"/>
                </a:lnTo>
                <a:cubicBezTo>
                  <a:pt x="388485" y="148720"/>
                  <a:pt x="387933" y="148183"/>
                  <a:pt x="387923" y="147512"/>
                </a:cubicBezTo>
                <a:cubicBezTo>
                  <a:pt x="387923" y="147501"/>
                  <a:pt x="387923" y="147491"/>
                  <a:pt x="387923" y="147481"/>
                </a:cubicBezTo>
                <a:lnTo>
                  <a:pt x="387923" y="64282"/>
                </a:lnTo>
                <a:lnTo>
                  <a:pt x="364006" y="64282"/>
                </a:lnTo>
                <a:cubicBezTo>
                  <a:pt x="364006" y="53364"/>
                  <a:pt x="372801" y="46443"/>
                  <a:pt x="383911" y="46443"/>
                </a:cubicBezTo>
                <a:lnTo>
                  <a:pt x="387923" y="46443"/>
                </a:lnTo>
                <a:lnTo>
                  <a:pt x="387923" y="23375"/>
                </a:lnTo>
                <a:cubicBezTo>
                  <a:pt x="387914" y="10474"/>
                  <a:pt x="398402" y="9"/>
                  <a:pt x="411347" y="0"/>
                </a:cubicBezTo>
                <a:close/>
              </a:path>
            </a:pathLst>
          </a:custGeom>
          <a:solidFill>
            <a:srgbClr val="004411"/>
          </a:solidFill>
          <a:ln w="1543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6E566F-F7E1-583E-7C47-C6F0BB32D2F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4175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O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</a:t>
            </a:r>
          </a:p>
        </p:txBody>
      </p:sp>
    </p:spTree>
    <p:extLst>
      <p:ext uri="{BB962C8B-B14F-4D97-AF65-F5344CB8AC3E}">
        <p14:creationId xmlns:p14="http://schemas.microsoft.com/office/powerpoint/2010/main" val="3323553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36" r:id="rId2"/>
    <p:sldLayoutId id="2147483735" r:id="rId3"/>
    <p:sldLayoutId id="2147483733" r:id="rId4"/>
    <p:sldLayoutId id="2147483734" r:id="rId5"/>
    <p:sldLayoutId id="2147483741" r:id="rId6"/>
    <p:sldLayoutId id="2147483744" r:id="rId7"/>
    <p:sldLayoutId id="2147483745" r:id="rId8"/>
    <p:sldLayoutId id="2147483740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1" r:id="rId28"/>
    <p:sldLayoutId id="2147483743" r:id="rId29"/>
    <p:sldLayoutId id="2147483723" r:id="rId30"/>
    <p:sldLayoutId id="2147483724" r:id="rId31"/>
    <p:sldLayoutId id="2147483725" r:id="rId32"/>
    <p:sldLayoutId id="2147483726" r:id="rId33"/>
    <p:sldLayoutId id="2147483727" r:id="rId34"/>
    <p:sldLayoutId id="2147483728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9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4110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pos="5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forms.office.com/e/hwKb5rGgkr" TargetMode="Externa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58EBA7A9-4507-A314-5B0E-92E0722422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4000" dirty="0"/>
              <a:t>Evaluering av Eiermøtet 2026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B9ECC81E-AD20-8F14-CCF9-BB8A4FD5801C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nb-NO" sz="2400" dirty="0"/>
              <a:t>Dine tilbakemeldinger hjelper oss å forbedre fremtidige Eiermøter. </a:t>
            </a:r>
          </a:p>
          <a:p>
            <a:r>
              <a:rPr lang="nb-NO" sz="2400" dirty="0"/>
              <a:t>Undersøkelsen tar kun et par minutter. </a:t>
            </a:r>
          </a:p>
          <a:p>
            <a:r>
              <a:rPr lang="nb-NO" sz="2400" dirty="0"/>
              <a:t>Takk for at du deltar! </a:t>
            </a:r>
          </a:p>
          <a:p>
            <a:endParaRPr lang="nb-NO" sz="1000" dirty="0"/>
          </a:p>
          <a:p>
            <a:r>
              <a:rPr lang="nb-NO" sz="1800" dirty="0">
                <a:hlinkClick r:id="rId2"/>
              </a:rPr>
              <a:t>https://medlem.nortura.no</a:t>
            </a:r>
            <a:r>
              <a:rPr lang="nb-NO" sz="1800">
                <a:hlinkClick r:id="rId2"/>
              </a:rPr>
              <a:t>/evaluering</a:t>
            </a:r>
          </a:p>
          <a:p>
            <a:r>
              <a:rPr lang="nb-NO" sz="1800">
                <a:hlinkClick r:id="rId2"/>
              </a:rPr>
              <a:t>https</a:t>
            </a:r>
            <a:r>
              <a:rPr lang="nb-NO" sz="1800" dirty="0">
                <a:hlinkClick r:id="rId2"/>
              </a:rPr>
              <a:t>://forms.office.com/e/hwKb5rGgkr</a:t>
            </a:r>
            <a:endParaRPr lang="nb-NO" sz="1800" dirty="0"/>
          </a:p>
          <a:p>
            <a:endParaRPr lang="nb-NO" sz="2400" dirty="0"/>
          </a:p>
          <a:p>
            <a:endParaRPr lang="nb-NO" dirty="0"/>
          </a:p>
        </p:txBody>
      </p:sp>
      <p:pic>
        <p:nvPicPr>
          <p:cNvPr id="5" name="Plassholder for innhold 4" descr="Et bilde som inneholder mønster, kvadrat, piksel&#10;&#10;KI-generert innhold kan være feil.">
            <a:extLst>
              <a:ext uri="{FF2B5EF4-FFF2-40B4-BE49-F238E27FC236}">
                <a16:creationId xmlns:a16="http://schemas.microsoft.com/office/drawing/2014/main" id="{A5C45E89-6388-EDA4-55A9-D737D6DF367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577806" y="901700"/>
            <a:ext cx="4873625" cy="487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396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slide">
  <a:themeElements>
    <a:clrScheme name="Nortura 2025">
      <a:dk1>
        <a:srgbClr val="2C2F34"/>
      </a:dk1>
      <a:lt1>
        <a:srgbClr val="FFFFFF"/>
      </a:lt1>
      <a:dk2>
        <a:srgbClr val="2C2F34"/>
      </a:dk2>
      <a:lt2>
        <a:srgbClr val="64771C"/>
      </a:lt2>
      <a:accent1>
        <a:srgbClr val="1B341A"/>
      </a:accent1>
      <a:accent2>
        <a:srgbClr val="64771C"/>
      </a:accent2>
      <a:accent3>
        <a:srgbClr val="30597C"/>
      </a:accent3>
      <a:accent4>
        <a:srgbClr val="B3C3C8"/>
      </a:accent4>
      <a:accent5>
        <a:srgbClr val="D69D34"/>
      </a:accent5>
      <a:accent6>
        <a:srgbClr val="AF6149"/>
      </a:accent6>
      <a:hlink>
        <a:srgbClr val="30597C"/>
      </a:hlink>
      <a:folHlink>
        <a:srgbClr val="AF614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rtura_A_HD" id="{ED5BEFD4-4044-4C4F-A42F-FD0111850D76}" vid="{929D3747-C423-8747-ADB6-44D7EF73D012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4084C838C69B84BA1CEC91A13174396" ma:contentTypeVersion="6" ma:contentTypeDescription="Opprett et nytt dokument." ma:contentTypeScope="" ma:versionID="5357123c2e8bc20d138214b4f872cd95">
  <xsd:schema xmlns:xsd="http://www.w3.org/2001/XMLSchema" xmlns:xs="http://www.w3.org/2001/XMLSchema" xmlns:p="http://schemas.microsoft.com/office/2006/metadata/properties" xmlns:ns2="22b7b95e-b18f-4759-bac6-9fa36e8b7776" xmlns:ns3="92bca93e-4b2f-4e84-97c4-078dc8428005" targetNamespace="http://schemas.microsoft.com/office/2006/metadata/properties" ma:root="true" ma:fieldsID="d6f7e8b4a9c349e0ebb2613d54cb08ba" ns2:_="" ns3:_="">
    <xsd:import namespace="22b7b95e-b18f-4759-bac6-9fa36e8b7776"/>
    <xsd:import namespace="92bca93e-4b2f-4e84-97c4-078dc842800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b7b95e-b18f-4759-bac6-9fa36e8b77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bca93e-4b2f-4e84-97c4-078dc842800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A71526B-C284-4E2A-93B3-E48411118DC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75E03DD-2131-4A71-9D39-99CDA0BF5D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2b7b95e-b18f-4759-bac6-9fa36e8b7776"/>
    <ds:schemaRef ds:uri="92bca93e-4b2f-4e84-97c4-078dc84280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8A37F35-DBF3-4DF1-8C33-0E2B41B5482A}">
  <ds:schemaRefs>
    <ds:schemaRef ds:uri="http://purl.org/dc/dcmitype/"/>
    <ds:schemaRef ds:uri="http://purl.org/dc/terms/"/>
    <ds:schemaRef ds:uri="22b7b95e-b18f-4759-bac6-9fa36e8b7776"/>
    <ds:schemaRef ds:uri="92bca93e-4b2f-4e84-97c4-078dc8428005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rtura_A 2025</Template>
  <TotalTime>5</TotalTime>
  <Words>46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5" baseType="lpstr">
      <vt:lpstr>Arial</vt:lpstr>
      <vt:lpstr>Calibri</vt:lpstr>
      <vt:lpstr>Content slide</vt:lpstr>
      <vt:lpstr>think-cell Slide</vt:lpstr>
      <vt:lpstr>Evaluering av Eiermøtet 2026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vein Bjarne Sommernes</dc:creator>
  <cp:lastModifiedBy>Svein Bjarne Sommernes</cp:lastModifiedBy>
  <cp:revision>1</cp:revision>
  <dcterms:created xsi:type="dcterms:W3CDTF">2026-02-11T14:36:55Z</dcterms:created>
  <dcterms:modified xsi:type="dcterms:W3CDTF">2026-02-11T14:5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084C838C69B84BA1CEC91A13174396</vt:lpwstr>
  </property>
  <property fmtid="{D5CDD505-2E9C-101B-9397-08002B2CF9AE}" pid="3" name="MSIP_Label_169accf4-2790-4dd9-bd65-6b3231a07cf7_Enabled">
    <vt:lpwstr>true</vt:lpwstr>
  </property>
  <property fmtid="{D5CDD505-2E9C-101B-9397-08002B2CF9AE}" pid="4" name="MSIP_Label_169accf4-2790-4dd9-bd65-6b3231a07cf7_SetDate">
    <vt:lpwstr>2025-08-04T11:14:46Z</vt:lpwstr>
  </property>
  <property fmtid="{D5CDD505-2E9C-101B-9397-08002B2CF9AE}" pid="5" name="MSIP_Label_169accf4-2790-4dd9-bd65-6b3231a07cf7_Method">
    <vt:lpwstr>Standard</vt:lpwstr>
  </property>
  <property fmtid="{D5CDD505-2E9C-101B-9397-08002B2CF9AE}" pid="6" name="MSIP_Label_169accf4-2790-4dd9-bd65-6b3231a07cf7_Name">
    <vt:lpwstr>Intern</vt:lpwstr>
  </property>
  <property fmtid="{D5CDD505-2E9C-101B-9397-08002B2CF9AE}" pid="7" name="MSIP_Label_169accf4-2790-4dd9-bd65-6b3231a07cf7_SiteId">
    <vt:lpwstr>0291be66-84fe-48d2-bcb0-66b1911bb4bb</vt:lpwstr>
  </property>
  <property fmtid="{D5CDD505-2E9C-101B-9397-08002B2CF9AE}" pid="8" name="MSIP_Label_169accf4-2790-4dd9-bd65-6b3231a07cf7_ActionId">
    <vt:lpwstr>c8fd1b71-f543-4ef5-8929-12ba3f15eaf3</vt:lpwstr>
  </property>
  <property fmtid="{D5CDD505-2E9C-101B-9397-08002B2CF9AE}" pid="9" name="MSIP_Label_169accf4-2790-4dd9-bd65-6b3231a07cf7_ContentBits">
    <vt:lpwstr>1</vt:lpwstr>
  </property>
  <property fmtid="{D5CDD505-2E9C-101B-9397-08002B2CF9AE}" pid="10" name="ClassificationContentMarkingHeaderLocations">
    <vt:lpwstr>Content slide:5</vt:lpwstr>
  </property>
  <property fmtid="{D5CDD505-2E9C-101B-9397-08002B2CF9AE}" pid="11" name="ClassificationContentMarkingHeaderText">
    <vt:lpwstr>INTERN</vt:lpwstr>
  </property>
</Properties>
</file>